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297.xml" ContentType="application/vnd.openxmlformats-officedocument.drawingml.chart+xml"/>
  <Override PartName="/ppt/charts/chart3298.xml" ContentType="application/vnd.openxmlformats-officedocument.drawingml.chart+xml"/>
  <Override PartName="/ppt/charts/chart329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00.xml" ContentType="application/vnd.openxmlformats-officedocument.drawingml.chart+xml"/>
  <Override PartName="/ppt/charts/chart3301.xml" ContentType="application/vnd.openxmlformats-officedocument.drawingml.chart+xml"/>
  <Override PartName="/ppt/charts/chart3302.xml" ContentType="application/vnd.openxmlformats-officedocument.drawingml.chart+xml"/>
  <Override PartName="/ppt/charts/chart3303.xml" ContentType="application/vnd.openxmlformats-officedocument.drawingml.chart+xml"/>
  <Override PartName="/ppt/charts/chart3304.xml" ContentType="application/vnd.openxmlformats-officedocument.drawingml.chart+xml"/>
  <Override PartName="/ppt/charts/chart3305.xml" ContentType="application/vnd.openxmlformats-officedocument.drawingml.chart+xml"/>
  <Override PartName="/ppt/charts/chart3306.xml" ContentType="application/vnd.openxmlformats-officedocument.drawingml.chart+xml"/>
  <Override PartName="/ppt/charts/chart3307.xml" ContentType="application/vnd.openxmlformats-officedocument.drawingml.chart+xml"/>
  <Override PartName="/ppt/charts/chart3308.xml" ContentType="application/vnd.openxmlformats-officedocument.drawingml.chart+xml"/>
  <Override PartName="/ppt/charts/chart3309.xml" ContentType="application/vnd.openxmlformats-officedocument.drawingml.chart+xml"/>
  <Override PartName="/ppt/charts/chart331.xml" ContentType="application/vnd.openxmlformats-officedocument.drawingml.chart+xml"/>
  <Override PartName="/ppt/charts/chart3310.xml" ContentType="application/vnd.openxmlformats-officedocument.drawingml.chart+xml"/>
  <Override PartName="/ppt/charts/chart3311.xml" ContentType="application/vnd.openxmlformats-officedocument.drawingml.chart+xml"/>
  <Override PartName="/ppt/charts/chart3312.xml" ContentType="application/vnd.openxmlformats-officedocument.drawingml.chart+xml"/>
  <Override PartName="/ppt/charts/chart3313.xml" ContentType="application/vnd.openxmlformats-officedocument.drawingml.chart+xml"/>
  <Override PartName="/ppt/charts/chart3314.xml" ContentType="application/vnd.openxmlformats-officedocument.drawingml.chart+xml"/>
  <Override PartName="/ppt/charts/chart3315.xml" ContentType="application/vnd.openxmlformats-officedocument.drawingml.chart+xml"/>
  <Override PartName="/ppt/charts/chart3316.xml" ContentType="application/vnd.openxmlformats-officedocument.drawingml.chart+xml"/>
  <Override PartName="/ppt/charts/chart3317.xml" ContentType="application/vnd.openxmlformats-officedocument.drawingml.chart+xml"/>
  <Override PartName="/ppt/charts/chart3318.xml" ContentType="application/vnd.openxmlformats-officedocument.drawingml.chart+xml"/>
  <Override PartName="/ppt/charts/chart3319.xml" ContentType="application/vnd.openxmlformats-officedocument.drawingml.chart+xml"/>
  <Override PartName="/ppt/charts/chart332.xml" ContentType="application/vnd.openxmlformats-officedocument.drawingml.chart+xml"/>
  <Override PartName="/ppt/charts/chart3320.xml" ContentType="application/vnd.openxmlformats-officedocument.drawingml.chart+xml"/>
  <Override PartName="/ppt/charts/chart3321.xml" ContentType="application/vnd.openxmlformats-officedocument.drawingml.chart+xml"/>
  <Override PartName="/ppt/charts/chart3322.xml" ContentType="application/vnd.openxmlformats-officedocument.drawingml.chart+xml"/>
  <Override PartName="/ppt/charts/chart3323.xml" ContentType="application/vnd.openxmlformats-officedocument.drawingml.chart+xml"/>
  <Override PartName="/ppt/charts/chart3324.xml" ContentType="application/vnd.openxmlformats-officedocument.drawingml.chart+xml"/>
  <Override PartName="/ppt/charts/chart3325.xml" ContentType="application/vnd.openxmlformats-officedocument.drawingml.chart+xml"/>
  <Override PartName="/ppt/charts/chart3326.xml" ContentType="application/vnd.openxmlformats-officedocument.drawingml.chart+xml"/>
  <Override PartName="/ppt/charts/chart3327.xml" ContentType="application/vnd.openxmlformats-officedocument.drawingml.chart+xml"/>
  <Override PartName="/ppt/charts/chart3328.xml" ContentType="application/vnd.openxmlformats-officedocument.drawingml.chart+xml"/>
  <Override PartName="/ppt/charts/chart3329.xml" ContentType="application/vnd.openxmlformats-officedocument.drawingml.chart+xml"/>
  <Override PartName="/ppt/charts/chart333.xml" ContentType="application/vnd.openxmlformats-officedocument.drawingml.chart+xml"/>
  <Override PartName="/ppt/charts/chart3330.xml" ContentType="application/vnd.openxmlformats-officedocument.drawingml.chart+xml"/>
  <Override PartName="/ppt/charts/chart3331.xml" ContentType="application/vnd.openxmlformats-officedocument.drawingml.chart+xml"/>
  <Override PartName="/ppt/charts/chart3332.xml" ContentType="application/vnd.openxmlformats-officedocument.drawingml.chart+xml"/>
  <Override PartName="/ppt/charts/chart3333.xml" ContentType="application/vnd.openxmlformats-officedocument.drawingml.chart+xml"/>
  <Override PartName="/ppt/charts/chart3334.xml" ContentType="application/vnd.openxmlformats-officedocument.drawingml.chart+xml"/>
  <Override PartName="/ppt/charts/chart3335.xml" ContentType="application/vnd.openxmlformats-officedocument.drawingml.chart+xml"/>
  <Override PartName="/ppt/charts/chart3336.xml" ContentType="application/vnd.openxmlformats-officedocument.drawingml.chart+xml"/>
  <Override PartName="/ppt/charts/chart3337.xml" ContentType="application/vnd.openxmlformats-officedocument.drawingml.chart+xml"/>
  <Override PartName="/ppt/charts/chart3338.xml" ContentType="application/vnd.openxmlformats-officedocument.drawingml.chart+xml"/>
  <Override PartName="/ppt/charts/chart3339.xml" ContentType="application/vnd.openxmlformats-officedocument.drawingml.chart+xml"/>
  <Override PartName="/ppt/charts/chart334.xml" ContentType="application/vnd.openxmlformats-officedocument.drawingml.chart+xml"/>
  <Override PartName="/ppt/charts/chart3340.xml" ContentType="application/vnd.openxmlformats-officedocument.drawingml.chart+xml"/>
  <Override PartName="/ppt/charts/chart3341.xml" ContentType="application/vnd.openxmlformats-officedocument.drawingml.chart+xml"/>
  <Override PartName="/ppt/charts/chart3342.xml" ContentType="application/vnd.openxmlformats-officedocument.drawingml.chart+xml"/>
  <Override PartName="/ppt/charts/chart3343.xml" ContentType="application/vnd.openxmlformats-officedocument.drawingml.chart+xml"/>
  <Override PartName="/ppt/charts/chart3344.xml" ContentType="application/vnd.openxmlformats-officedocument.drawingml.chart+xml"/>
  <Override PartName="/ppt/charts/chart3345.xml" ContentType="application/vnd.openxmlformats-officedocument.drawingml.chart+xml"/>
  <Override PartName="/ppt/charts/chart3346.xml" ContentType="application/vnd.openxmlformats-officedocument.drawingml.chart+xml"/>
  <Override PartName="/ppt/charts/chart3347.xml" ContentType="application/vnd.openxmlformats-officedocument.drawingml.chart+xml"/>
  <Override PartName="/ppt/charts/chart3348.xml" ContentType="application/vnd.openxmlformats-officedocument.drawingml.chart+xml"/>
  <Override PartName="/ppt/charts/chart3349.xml" ContentType="application/vnd.openxmlformats-officedocument.drawingml.chart+xml"/>
  <Override PartName="/ppt/charts/chart335.xml" ContentType="application/vnd.openxmlformats-officedocument.drawingml.chart+xml"/>
  <Override PartName="/ppt/charts/chart3350.xml" ContentType="application/vnd.openxmlformats-officedocument.drawingml.chart+xml"/>
  <Override PartName="/ppt/charts/chart3351.xml" ContentType="application/vnd.openxmlformats-officedocument.drawingml.chart+xml"/>
  <Override PartName="/ppt/charts/chart3352.xml" ContentType="application/vnd.openxmlformats-officedocument.drawingml.chart+xml"/>
  <Override PartName="/ppt/charts/chart3353.xml" ContentType="application/vnd.openxmlformats-officedocument.drawingml.chart+xml"/>
  <Override PartName="/ppt/charts/chart3354.xml" ContentType="application/vnd.openxmlformats-officedocument.drawingml.chart+xml"/>
  <Override PartName="/ppt/charts/chart3355.xml" ContentType="application/vnd.openxmlformats-officedocument.drawingml.chart+xml"/>
  <Override PartName="/ppt/charts/chart3356.xml" ContentType="application/vnd.openxmlformats-officedocument.drawingml.chart+xml"/>
  <Override PartName="/ppt/charts/chart3357.xml" ContentType="application/vnd.openxmlformats-officedocument.drawingml.chart+xml"/>
  <Override PartName="/ppt/charts/chart3358.xml" ContentType="application/vnd.openxmlformats-officedocument.drawingml.chart+xml"/>
  <Override PartName="/ppt/charts/chart3359.xml" ContentType="application/vnd.openxmlformats-officedocument.drawingml.chart+xml"/>
  <Override PartName="/ppt/charts/chart336.xml" ContentType="application/vnd.openxmlformats-officedocument.drawingml.chart+xml"/>
  <Override PartName="/ppt/charts/chart3360.xml" ContentType="application/vnd.openxmlformats-officedocument.drawingml.chart+xml"/>
  <Override PartName="/ppt/charts/chart3361.xml" ContentType="application/vnd.openxmlformats-officedocument.drawingml.chart+xml"/>
  <Override PartName="/ppt/charts/chart3362.xml" ContentType="application/vnd.openxmlformats-officedocument.drawingml.chart+xml"/>
  <Override PartName="/ppt/charts/chart3363.xml" ContentType="application/vnd.openxmlformats-officedocument.drawingml.chart+xml"/>
  <Override PartName="/ppt/charts/chart3364.xml" ContentType="application/vnd.openxmlformats-officedocument.drawingml.chart+xml"/>
  <Override PartName="/ppt/charts/chart3365.xml" ContentType="application/vnd.openxmlformats-officedocument.drawingml.chart+xml"/>
  <Override PartName="/ppt/charts/chart3366.xml" ContentType="application/vnd.openxmlformats-officedocument.drawingml.chart+xml"/>
  <Override PartName="/ppt/charts/chart3367.xml" ContentType="application/vnd.openxmlformats-officedocument.drawingml.chart+xml"/>
  <Override PartName="/ppt/charts/chart3368.xml" ContentType="application/vnd.openxmlformats-officedocument.drawingml.chart+xml"/>
  <Override PartName="/ppt/charts/chart3369.xml" ContentType="application/vnd.openxmlformats-officedocument.drawingml.chart+xml"/>
  <Override PartName="/ppt/charts/chart337.xml" ContentType="application/vnd.openxmlformats-officedocument.drawingml.chart+xml"/>
  <Override PartName="/ppt/charts/chart3370.xml" ContentType="application/vnd.openxmlformats-officedocument.drawingml.chart+xml"/>
  <Override PartName="/ppt/charts/chart3371.xml" ContentType="application/vnd.openxmlformats-officedocument.drawingml.chart+xml"/>
  <Override PartName="/ppt/charts/chart3372.xml" ContentType="application/vnd.openxmlformats-officedocument.drawingml.chart+xml"/>
  <Override PartName="/ppt/charts/chart3373.xml" ContentType="application/vnd.openxmlformats-officedocument.drawingml.chart+xml"/>
  <Override PartName="/ppt/charts/chart3374.xml" ContentType="application/vnd.openxmlformats-officedocument.drawingml.chart+xml"/>
  <Override PartName="/ppt/charts/chart3375.xml" ContentType="application/vnd.openxmlformats-officedocument.drawingml.chart+xml"/>
  <Override PartName="/ppt/charts/chart3376.xml" ContentType="application/vnd.openxmlformats-officedocument.drawingml.chart+xml"/>
  <Override PartName="/ppt/charts/chart3377.xml" ContentType="application/vnd.openxmlformats-officedocument.drawingml.chart+xml"/>
  <Override PartName="/ppt/charts/chart3378.xml" ContentType="application/vnd.openxmlformats-officedocument.drawingml.chart+xml"/>
  <Override PartName="/ppt/charts/chart3379.xml" ContentType="application/vnd.openxmlformats-officedocument.drawingml.chart+xml"/>
  <Override PartName="/ppt/charts/chart338.xml" ContentType="application/vnd.openxmlformats-officedocument.drawingml.chart+xml"/>
  <Override PartName="/ppt/charts/chart3380.xml" ContentType="application/vnd.openxmlformats-officedocument.drawingml.chart+xml"/>
  <Override PartName="/ppt/charts/chart3381.xml" ContentType="application/vnd.openxmlformats-officedocument.drawingml.chart+xml"/>
  <Override PartName="/ppt/charts/chart3382.xml" ContentType="application/vnd.openxmlformats-officedocument.drawingml.chart+xml"/>
  <Override PartName="/ppt/charts/chart3383.xml" ContentType="application/vnd.openxmlformats-officedocument.drawingml.chart+xml"/>
  <Override PartName="/ppt/charts/chart3384.xml" ContentType="application/vnd.openxmlformats-officedocument.drawingml.chart+xml"/>
  <Override PartName="/ppt/charts/chart3385.xml" ContentType="application/vnd.openxmlformats-officedocument.drawingml.chart+xml"/>
  <Override PartName="/ppt/charts/chart3386.xml" ContentType="application/vnd.openxmlformats-officedocument.drawingml.chart+xml"/>
  <Override PartName="/ppt/charts/chart3387.xml" ContentType="application/vnd.openxmlformats-officedocument.drawingml.chart+xml"/>
  <Override PartName="/ppt/charts/chart3388.xml" ContentType="application/vnd.openxmlformats-officedocument.drawingml.chart+xml"/>
  <Override PartName="/ppt/charts/chart3389.xml" ContentType="application/vnd.openxmlformats-officedocument.drawingml.chart+xml"/>
  <Override PartName="/ppt/charts/chart339.xml" ContentType="application/vnd.openxmlformats-officedocument.drawingml.chart+xml"/>
  <Override PartName="/ppt/charts/chart3390.xml" ContentType="application/vnd.openxmlformats-officedocument.drawingml.chart+xml"/>
  <Override PartName="/ppt/charts/chart3391.xml" ContentType="application/vnd.openxmlformats-officedocument.drawingml.chart+xml"/>
  <Override PartName="/ppt/charts/chart3392.xml" ContentType="application/vnd.openxmlformats-officedocument.drawingml.chart+xml"/>
  <Override PartName="/ppt/charts/chart3393.xml" ContentType="application/vnd.openxmlformats-officedocument.drawingml.chart+xml"/>
  <Override PartName="/ppt/charts/chart3394.xml" ContentType="application/vnd.openxmlformats-officedocument.drawingml.chart+xml"/>
  <Override PartName="/ppt/charts/chart3395.xml" ContentType="application/vnd.openxmlformats-officedocument.drawingml.chart+xml"/>
  <Override PartName="/ppt/charts/chart3396.xml" ContentType="application/vnd.openxmlformats-officedocument.drawingml.chart+xml"/>
  <Override PartName="/ppt/charts/chart3397.xml" ContentType="application/vnd.openxmlformats-officedocument.drawingml.chart+xml"/>
  <Override PartName="/ppt/charts/chart3398.xml" ContentType="application/vnd.openxmlformats-officedocument.drawingml.chart+xml"/>
  <Override PartName="/ppt/charts/chart339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00.xml" ContentType="application/vnd.openxmlformats-officedocument.drawingml.chart+xml"/>
  <Override PartName="/ppt/charts/chart3401.xml" ContentType="application/vnd.openxmlformats-officedocument.drawingml.chart+xml"/>
  <Override PartName="/ppt/charts/chart3402.xml" ContentType="application/vnd.openxmlformats-officedocument.drawingml.chart+xml"/>
  <Override PartName="/ppt/charts/chart3403.xml" ContentType="application/vnd.openxmlformats-officedocument.drawingml.chart+xml"/>
  <Override PartName="/ppt/charts/chart3404.xml" ContentType="application/vnd.openxmlformats-officedocument.drawingml.chart+xml"/>
  <Override PartName="/ppt/charts/chart3405.xml" ContentType="application/vnd.openxmlformats-officedocument.drawingml.chart+xml"/>
  <Override PartName="/ppt/charts/chart3406.xml" ContentType="application/vnd.openxmlformats-officedocument.drawingml.chart+xml"/>
  <Override PartName="/ppt/charts/chart3407.xml" ContentType="application/vnd.openxmlformats-officedocument.drawingml.chart+xml"/>
  <Override PartName="/ppt/charts/chart3408.xml" ContentType="application/vnd.openxmlformats-officedocument.drawingml.chart+xml"/>
  <Override PartName="/ppt/charts/chart3409.xml" ContentType="application/vnd.openxmlformats-officedocument.drawingml.chart+xml"/>
  <Override PartName="/ppt/charts/chart341.xml" ContentType="application/vnd.openxmlformats-officedocument.drawingml.chart+xml"/>
  <Override PartName="/ppt/charts/chart3410.xml" ContentType="application/vnd.openxmlformats-officedocument.drawingml.chart+xml"/>
  <Override PartName="/ppt/charts/chart3411.xml" ContentType="application/vnd.openxmlformats-officedocument.drawingml.chart+xml"/>
  <Override PartName="/ppt/charts/chart3412.xml" ContentType="application/vnd.openxmlformats-officedocument.drawingml.chart+xml"/>
  <Override PartName="/ppt/charts/chart3413.xml" ContentType="application/vnd.openxmlformats-officedocument.drawingml.chart+xml"/>
  <Override PartName="/ppt/charts/chart3414.xml" ContentType="application/vnd.openxmlformats-officedocument.drawingml.chart+xml"/>
  <Override PartName="/ppt/charts/chart3415.xml" ContentType="application/vnd.openxmlformats-officedocument.drawingml.chart+xml"/>
  <Override PartName="/ppt/charts/chart3416.xml" ContentType="application/vnd.openxmlformats-officedocument.drawingml.chart+xml"/>
  <Override PartName="/ppt/charts/chart3417.xml" ContentType="application/vnd.openxmlformats-officedocument.drawingml.chart+xml"/>
  <Override PartName="/ppt/charts/chart3418.xml" ContentType="application/vnd.openxmlformats-officedocument.drawingml.chart+xml"/>
  <Override PartName="/ppt/charts/chart3419.xml" ContentType="application/vnd.openxmlformats-officedocument.drawingml.chart+xml"/>
  <Override PartName="/ppt/charts/chart342.xml" ContentType="application/vnd.openxmlformats-officedocument.drawingml.chart+xml"/>
  <Override PartName="/ppt/charts/chart3420.xml" ContentType="application/vnd.openxmlformats-officedocument.drawingml.chart+xml"/>
  <Override PartName="/ppt/charts/chart3421.xml" ContentType="application/vnd.openxmlformats-officedocument.drawingml.chart+xml"/>
  <Override PartName="/ppt/charts/chart3422.xml" ContentType="application/vnd.openxmlformats-officedocument.drawingml.chart+xml"/>
  <Override PartName="/ppt/charts/chart3423.xml" ContentType="application/vnd.openxmlformats-officedocument.drawingml.chart+xml"/>
  <Override PartName="/ppt/charts/chart3424.xml" ContentType="application/vnd.openxmlformats-officedocument.drawingml.chart+xml"/>
  <Override PartName="/ppt/charts/chart3425.xml" ContentType="application/vnd.openxmlformats-officedocument.drawingml.chart+xml"/>
  <Override PartName="/ppt/charts/chart3426.xml" ContentType="application/vnd.openxmlformats-officedocument.drawingml.chart+xml"/>
  <Override PartName="/ppt/charts/chart3427.xml" ContentType="application/vnd.openxmlformats-officedocument.drawingml.chart+xml"/>
  <Override PartName="/ppt/charts/chart3428.xml" ContentType="application/vnd.openxmlformats-officedocument.drawingml.chart+xml"/>
  <Override PartName="/ppt/charts/chart3429.xml" ContentType="application/vnd.openxmlformats-officedocument.drawingml.chart+xml"/>
  <Override PartName="/ppt/charts/chart343.xml" ContentType="application/vnd.openxmlformats-officedocument.drawingml.chart+xml"/>
  <Override PartName="/ppt/charts/chart3430.xml" ContentType="application/vnd.openxmlformats-officedocument.drawingml.chart+xml"/>
  <Override PartName="/ppt/charts/chart3431.xml" ContentType="application/vnd.openxmlformats-officedocument.drawingml.chart+xml"/>
  <Override PartName="/ppt/charts/chart3432.xml" ContentType="application/vnd.openxmlformats-officedocument.drawingml.chart+xml"/>
  <Override PartName="/ppt/charts/chart3433.xml" ContentType="application/vnd.openxmlformats-officedocument.drawingml.chart+xml"/>
  <Override PartName="/ppt/charts/chart3434.xml" ContentType="application/vnd.openxmlformats-officedocument.drawingml.chart+xml"/>
  <Override PartName="/ppt/charts/chart3435.xml" ContentType="application/vnd.openxmlformats-officedocument.drawingml.chart+xml"/>
  <Override PartName="/ppt/charts/chart3436.xml" ContentType="application/vnd.openxmlformats-officedocument.drawingml.chart+xml"/>
  <Override PartName="/ppt/charts/chart3437.xml" ContentType="application/vnd.openxmlformats-officedocument.drawingml.chart+xml"/>
  <Override PartName="/ppt/charts/chart3438.xml" ContentType="application/vnd.openxmlformats-officedocument.drawingml.chart+xml"/>
  <Override PartName="/ppt/charts/chart3439.xml" ContentType="application/vnd.openxmlformats-officedocument.drawingml.chart+xml"/>
  <Override PartName="/ppt/charts/chart344.xml" ContentType="application/vnd.openxmlformats-officedocument.drawingml.chart+xml"/>
  <Override PartName="/ppt/charts/chart3440.xml" ContentType="application/vnd.openxmlformats-officedocument.drawingml.chart+xml"/>
  <Override PartName="/ppt/charts/chart3441.xml" ContentType="application/vnd.openxmlformats-officedocument.drawingml.chart+xml"/>
  <Override PartName="/ppt/charts/chart3442.xml" ContentType="application/vnd.openxmlformats-officedocument.drawingml.chart+xml"/>
  <Override PartName="/ppt/charts/chart3443.xml" ContentType="application/vnd.openxmlformats-officedocument.drawingml.chart+xml"/>
  <Override PartName="/ppt/charts/chart3444.xml" ContentType="application/vnd.openxmlformats-officedocument.drawingml.chart+xml"/>
  <Override PartName="/ppt/charts/chart3445.xml" ContentType="application/vnd.openxmlformats-officedocument.drawingml.chart+xml"/>
  <Override PartName="/ppt/charts/chart3446.xml" ContentType="application/vnd.openxmlformats-officedocument.drawingml.chart+xml"/>
  <Override PartName="/ppt/charts/chart3447.xml" ContentType="application/vnd.openxmlformats-officedocument.drawingml.chart+xml"/>
  <Override PartName="/ppt/charts/chart3448.xml" ContentType="application/vnd.openxmlformats-officedocument.drawingml.chart+xml"/>
  <Override PartName="/ppt/charts/chart3449.xml" ContentType="application/vnd.openxmlformats-officedocument.drawingml.chart+xml"/>
  <Override PartName="/ppt/charts/chart345.xml" ContentType="application/vnd.openxmlformats-officedocument.drawingml.chart+xml"/>
  <Override PartName="/ppt/charts/chart3450.xml" ContentType="application/vnd.openxmlformats-officedocument.drawingml.chart+xml"/>
  <Override PartName="/ppt/charts/chart3451.xml" ContentType="application/vnd.openxmlformats-officedocument.drawingml.chart+xml"/>
  <Override PartName="/ppt/charts/chart3452.xml" ContentType="application/vnd.openxmlformats-officedocument.drawingml.chart+xml"/>
  <Override PartName="/ppt/charts/chart3453.xml" ContentType="application/vnd.openxmlformats-officedocument.drawingml.chart+xml"/>
  <Override PartName="/ppt/charts/chart3454.xml" ContentType="application/vnd.openxmlformats-officedocument.drawingml.chart+xml"/>
  <Override PartName="/ppt/charts/chart3455.xml" ContentType="application/vnd.openxmlformats-officedocument.drawingml.chart+xml"/>
  <Override PartName="/ppt/charts/chart3456.xml" ContentType="application/vnd.openxmlformats-officedocument.drawingml.chart+xml"/>
  <Override PartName="/ppt/charts/chart3457.xml" ContentType="application/vnd.openxmlformats-officedocument.drawingml.chart+xml"/>
  <Override PartName="/ppt/charts/chart3458.xml" ContentType="application/vnd.openxmlformats-officedocument.drawingml.chart+xml"/>
  <Override PartName="/ppt/charts/chart3459.xml" ContentType="application/vnd.openxmlformats-officedocument.drawingml.chart+xml"/>
  <Override PartName="/ppt/charts/chart346.xml" ContentType="application/vnd.openxmlformats-officedocument.drawingml.chart+xml"/>
  <Override PartName="/ppt/charts/chart3460.xml" ContentType="application/vnd.openxmlformats-officedocument.drawingml.chart+xml"/>
  <Override PartName="/ppt/charts/chart3461.xml" ContentType="application/vnd.openxmlformats-officedocument.drawingml.chart+xml"/>
  <Override PartName="/ppt/charts/chart3462.xml" ContentType="application/vnd.openxmlformats-officedocument.drawingml.chart+xml"/>
  <Override PartName="/ppt/charts/chart3463.xml" ContentType="application/vnd.openxmlformats-officedocument.drawingml.chart+xml"/>
  <Override PartName="/ppt/charts/chart3464.xml" ContentType="application/vnd.openxmlformats-officedocument.drawingml.chart+xml"/>
  <Override PartName="/ppt/charts/chart3465.xml" ContentType="application/vnd.openxmlformats-officedocument.drawingml.chart+xml"/>
  <Override PartName="/ppt/charts/chart3466.xml" ContentType="application/vnd.openxmlformats-officedocument.drawingml.chart+xml"/>
  <Override PartName="/ppt/charts/chart3467.xml" ContentType="application/vnd.openxmlformats-officedocument.drawingml.chart+xml"/>
  <Override PartName="/ppt/charts/chart3468.xml" ContentType="application/vnd.openxmlformats-officedocument.drawingml.chart+xml"/>
  <Override PartName="/ppt/charts/chart3469.xml" ContentType="application/vnd.openxmlformats-officedocument.drawingml.chart+xml"/>
  <Override PartName="/ppt/charts/chart347.xml" ContentType="application/vnd.openxmlformats-officedocument.drawingml.chart+xml"/>
  <Override PartName="/ppt/charts/chart3470.xml" ContentType="application/vnd.openxmlformats-officedocument.drawingml.chart+xml"/>
  <Override PartName="/ppt/charts/chart3471.xml" ContentType="application/vnd.openxmlformats-officedocument.drawingml.chart+xml"/>
  <Override PartName="/ppt/charts/chart3472.xml" ContentType="application/vnd.openxmlformats-officedocument.drawingml.chart+xml"/>
  <Override PartName="/ppt/charts/chart3473.xml" ContentType="application/vnd.openxmlformats-officedocument.drawingml.chart+xml"/>
  <Override PartName="/ppt/charts/chart3474.xml" ContentType="application/vnd.openxmlformats-officedocument.drawingml.chart+xml"/>
  <Override PartName="/ppt/charts/chart3475.xml" ContentType="application/vnd.openxmlformats-officedocument.drawingml.chart+xml"/>
  <Override PartName="/ppt/charts/chart3476.xml" ContentType="application/vnd.openxmlformats-officedocument.drawingml.chart+xml"/>
  <Override PartName="/ppt/charts/chart3477.xml" ContentType="application/vnd.openxmlformats-officedocument.drawingml.chart+xml"/>
  <Override PartName="/ppt/charts/chart3478.xml" ContentType="application/vnd.openxmlformats-officedocument.drawingml.chart+xml"/>
  <Override PartName="/ppt/charts/chart3479.xml" ContentType="application/vnd.openxmlformats-officedocument.drawingml.chart+xml"/>
  <Override PartName="/ppt/charts/chart348.xml" ContentType="application/vnd.openxmlformats-officedocument.drawingml.chart+xml"/>
  <Override PartName="/ppt/charts/chart3480.xml" ContentType="application/vnd.openxmlformats-officedocument.drawingml.chart+xml"/>
  <Override PartName="/ppt/charts/chart3481.xml" ContentType="application/vnd.openxmlformats-officedocument.drawingml.chart+xml"/>
  <Override PartName="/ppt/charts/chart3482.xml" ContentType="application/vnd.openxmlformats-officedocument.drawingml.chart+xml"/>
  <Override PartName="/ppt/charts/chart3483.xml" ContentType="application/vnd.openxmlformats-officedocument.drawingml.chart+xml"/>
  <Override PartName="/ppt/charts/chart3484.xml" ContentType="application/vnd.openxmlformats-officedocument.drawingml.chart+xml"/>
  <Override PartName="/ppt/charts/chart3485.xml" ContentType="application/vnd.openxmlformats-officedocument.drawingml.chart+xml"/>
  <Override PartName="/ppt/charts/chart3486.xml" ContentType="application/vnd.openxmlformats-officedocument.drawingml.chart+xml"/>
  <Override PartName="/ppt/charts/chart3487.xml" ContentType="application/vnd.openxmlformats-officedocument.drawingml.chart+xml"/>
  <Override PartName="/ppt/charts/chart3488.xml" ContentType="application/vnd.openxmlformats-officedocument.drawingml.chart+xml"/>
  <Override PartName="/ppt/charts/chart3489.xml" ContentType="application/vnd.openxmlformats-officedocument.drawingml.chart+xml"/>
  <Override PartName="/ppt/charts/chart349.xml" ContentType="application/vnd.openxmlformats-officedocument.drawingml.chart+xml"/>
  <Override PartName="/ppt/charts/chart3490.xml" ContentType="application/vnd.openxmlformats-officedocument.drawingml.chart+xml"/>
  <Override PartName="/ppt/charts/chart3491.xml" ContentType="application/vnd.openxmlformats-officedocument.drawingml.chart+xml"/>
  <Override PartName="/ppt/charts/chart3492.xml" ContentType="application/vnd.openxmlformats-officedocument.drawingml.chart+xml"/>
  <Override PartName="/ppt/charts/chart3493.xml" ContentType="application/vnd.openxmlformats-officedocument.drawingml.chart+xml"/>
  <Override PartName="/ppt/charts/chart3494.xml" ContentType="application/vnd.openxmlformats-officedocument.drawingml.chart+xml"/>
  <Override PartName="/ppt/charts/chart3495.xml" ContentType="application/vnd.openxmlformats-officedocument.drawingml.chart+xml"/>
  <Override PartName="/ppt/charts/chart3496.xml" ContentType="application/vnd.openxmlformats-officedocument.drawingml.chart+xml"/>
  <Override PartName="/ppt/charts/chart3497.xml" ContentType="application/vnd.openxmlformats-officedocument.drawingml.chart+xml"/>
  <Override PartName="/ppt/charts/chart3498.xml" ContentType="application/vnd.openxmlformats-officedocument.drawingml.chart+xml"/>
  <Override PartName="/ppt/charts/chart349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00.xml" ContentType="application/vnd.openxmlformats-officedocument.drawingml.chart+xml"/>
  <Override PartName="/ppt/charts/chart3501.xml" ContentType="application/vnd.openxmlformats-officedocument.drawingml.chart+xml"/>
  <Override PartName="/ppt/charts/chart3502.xml" ContentType="application/vnd.openxmlformats-officedocument.drawingml.chart+xml"/>
  <Override PartName="/ppt/charts/chart3503.xml" ContentType="application/vnd.openxmlformats-officedocument.drawingml.chart+xml"/>
  <Override PartName="/ppt/charts/chart3504.xml" ContentType="application/vnd.openxmlformats-officedocument.drawingml.chart+xml"/>
  <Override PartName="/ppt/charts/chart3505.xml" ContentType="application/vnd.openxmlformats-officedocument.drawingml.chart+xml"/>
  <Override PartName="/ppt/charts/chart3506.xml" ContentType="application/vnd.openxmlformats-officedocument.drawingml.chart+xml"/>
  <Override PartName="/ppt/charts/chart3507.xml" ContentType="application/vnd.openxmlformats-officedocument.drawingml.chart+xml"/>
  <Override PartName="/ppt/charts/chart3508.xml" ContentType="application/vnd.openxmlformats-officedocument.drawingml.chart+xml"/>
  <Override PartName="/ppt/charts/chart3509.xml" ContentType="application/vnd.openxmlformats-officedocument.drawingml.chart+xml"/>
  <Override PartName="/ppt/charts/chart351.xml" ContentType="application/vnd.openxmlformats-officedocument.drawingml.chart+xml"/>
  <Override PartName="/ppt/charts/chart3510.xml" ContentType="application/vnd.openxmlformats-officedocument.drawingml.chart+xml"/>
  <Override PartName="/ppt/charts/chart3511.xml" ContentType="application/vnd.openxmlformats-officedocument.drawingml.chart+xml"/>
  <Override PartName="/ppt/charts/chart3512.xml" ContentType="application/vnd.openxmlformats-officedocument.drawingml.chart+xml"/>
  <Override PartName="/ppt/charts/chart3513.xml" ContentType="application/vnd.openxmlformats-officedocument.drawingml.chart+xml"/>
  <Override PartName="/ppt/charts/chart3514.xml" ContentType="application/vnd.openxmlformats-officedocument.drawingml.chart+xml"/>
  <Override PartName="/ppt/charts/chart3515.xml" ContentType="application/vnd.openxmlformats-officedocument.drawingml.chart+xml"/>
  <Override PartName="/ppt/charts/chart3516.xml" ContentType="application/vnd.openxmlformats-officedocument.drawingml.chart+xml"/>
  <Override PartName="/ppt/charts/chart3517.xml" ContentType="application/vnd.openxmlformats-officedocument.drawingml.chart+xml"/>
  <Override PartName="/ppt/charts/chart3518.xml" ContentType="application/vnd.openxmlformats-officedocument.drawingml.chart+xml"/>
  <Override PartName="/ppt/charts/chart3519.xml" ContentType="application/vnd.openxmlformats-officedocument.drawingml.chart+xml"/>
  <Override PartName="/ppt/charts/chart352.xml" ContentType="application/vnd.openxmlformats-officedocument.drawingml.chart+xml"/>
  <Override PartName="/ppt/charts/chart3520.xml" ContentType="application/vnd.openxmlformats-officedocument.drawingml.chart+xml"/>
  <Override PartName="/ppt/charts/chart3521.xml" ContentType="application/vnd.openxmlformats-officedocument.drawingml.chart+xml"/>
  <Override PartName="/ppt/charts/chart3522.xml" ContentType="application/vnd.openxmlformats-officedocument.drawingml.chart+xml"/>
  <Override PartName="/ppt/charts/chart3523.xml" ContentType="application/vnd.openxmlformats-officedocument.drawingml.chart+xml"/>
  <Override PartName="/ppt/charts/chart3524.xml" ContentType="application/vnd.openxmlformats-officedocument.drawingml.chart+xml"/>
  <Override PartName="/ppt/charts/chart3525.xml" ContentType="application/vnd.openxmlformats-officedocument.drawingml.chart+xml"/>
  <Override PartName="/ppt/charts/chart3526.xml" ContentType="application/vnd.openxmlformats-officedocument.drawingml.chart+xml"/>
  <Override PartName="/ppt/charts/chart3527.xml" ContentType="application/vnd.openxmlformats-officedocument.drawingml.chart+xml"/>
  <Override PartName="/ppt/charts/chart3528.xml" ContentType="application/vnd.openxmlformats-officedocument.drawingml.chart+xml"/>
  <Override PartName="/ppt/charts/chart3529.xml" ContentType="application/vnd.openxmlformats-officedocument.drawingml.chart+xml"/>
  <Override PartName="/ppt/charts/chart353.xml" ContentType="application/vnd.openxmlformats-officedocument.drawingml.chart+xml"/>
  <Override PartName="/ppt/charts/chart3530.xml" ContentType="application/vnd.openxmlformats-officedocument.drawingml.chart+xml"/>
  <Override PartName="/ppt/charts/chart3531.xml" ContentType="application/vnd.openxmlformats-officedocument.drawingml.chart+xml"/>
  <Override PartName="/ppt/charts/chart3532.xml" ContentType="application/vnd.openxmlformats-officedocument.drawingml.chart+xml"/>
  <Override PartName="/ppt/charts/chart3533.xml" ContentType="application/vnd.openxmlformats-officedocument.drawingml.chart+xml"/>
  <Override PartName="/ppt/charts/chart3534.xml" ContentType="application/vnd.openxmlformats-officedocument.drawingml.chart+xml"/>
  <Override PartName="/ppt/charts/chart3535.xml" ContentType="application/vnd.openxmlformats-officedocument.drawingml.chart+xml"/>
  <Override PartName="/ppt/charts/chart3536.xml" ContentType="application/vnd.openxmlformats-officedocument.drawingml.chart+xml"/>
  <Override PartName="/ppt/charts/chart3537.xml" ContentType="application/vnd.openxmlformats-officedocument.drawingml.chart+xml"/>
  <Override PartName="/ppt/charts/chart3538.xml" ContentType="application/vnd.openxmlformats-officedocument.drawingml.chart+xml"/>
  <Override PartName="/ppt/charts/chart3539.xml" ContentType="application/vnd.openxmlformats-officedocument.drawingml.chart+xml"/>
  <Override PartName="/ppt/charts/chart354.xml" ContentType="application/vnd.openxmlformats-officedocument.drawingml.chart+xml"/>
  <Override PartName="/ppt/charts/chart3540.xml" ContentType="application/vnd.openxmlformats-officedocument.drawingml.chart+xml"/>
  <Override PartName="/ppt/charts/chart3541.xml" ContentType="application/vnd.openxmlformats-officedocument.drawingml.chart+xml"/>
  <Override PartName="/ppt/charts/chart3542.xml" ContentType="application/vnd.openxmlformats-officedocument.drawingml.chart+xml"/>
  <Override PartName="/ppt/charts/chart3543.xml" ContentType="application/vnd.openxmlformats-officedocument.drawingml.chart+xml"/>
  <Override PartName="/ppt/charts/chart3544.xml" ContentType="application/vnd.openxmlformats-officedocument.drawingml.chart+xml"/>
  <Override PartName="/ppt/charts/chart3545.xml" ContentType="application/vnd.openxmlformats-officedocument.drawingml.chart+xml"/>
  <Override PartName="/ppt/charts/chart3546.xml" ContentType="application/vnd.openxmlformats-officedocument.drawingml.chart+xml"/>
  <Override PartName="/ppt/charts/chart3547.xml" ContentType="application/vnd.openxmlformats-officedocument.drawingml.chart+xml"/>
  <Override PartName="/ppt/charts/chart3548.xml" ContentType="application/vnd.openxmlformats-officedocument.drawingml.chart+xml"/>
  <Override PartName="/ppt/charts/chart3549.xml" ContentType="application/vnd.openxmlformats-officedocument.drawingml.chart+xml"/>
  <Override PartName="/ppt/charts/chart355.xml" ContentType="application/vnd.openxmlformats-officedocument.drawingml.chart+xml"/>
  <Override PartName="/ppt/charts/chart3550.xml" ContentType="application/vnd.openxmlformats-officedocument.drawingml.chart+xml"/>
  <Override PartName="/ppt/charts/chart3551.xml" ContentType="application/vnd.openxmlformats-officedocument.drawingml.chart+xml"/>
  <Override PartName="/ppt/charts/chart3552.xml" ContentType="application/vnd.openxmlformats-officedocument.drawingml.chart+xml"/>
  <Override PartName="/ppt/charts/chart3553.xml" ContentType="application/vnd.openxmlformats-officedocument.drawingml.chart+xml"/>
  <Override PartName="/ppt/charts/chart3554.xml" ContentType="application/vnd.openxmlformats-officedocument.drawingml.chart+xml"/>
  <Override PartName="/ppt/charts/chart3555.xml" ContentType="application/vnd.openxmlformats-officedocument.drawingml.chart+xml"/>
  <Override PartName="/ppt/charts/chart3556.xml" ContentType="application/vnd.openxmlformats-officedocument.drawingml.chart+xml"/>
  <Override PartName="/ppt/charts/chart3557.xml" ContentType="application/vnd.openxmlformats-officedocument.drawingml.chart+xml"/>
  <Override PartName="/ppt/charts/chart3558.xml" ContentType="application/vnd.openxmlformats-officedocument.drawingml.chart+xml"/>
  <Override PartName="/ppt/charts/chart3559.xml" ContentType="application/vnd.openxmlformats-officedocument.drawingml.chart+xml"/>
  <Override PartName="/ppt/charts/chart356.xml" ContentType="application/vnd.openxmlformats-officedocument.drawingml.chart+xml"/>
  <Override PartName="/ppt/charts/chart3560.xml" ContentType="application/vnd.openxmlformats-officedocument.drawingml.chart+xml"/>
  <Override PartName="/ppt/charts/chart3561.xml" ContentType="application/vnd.openxmlformats-officedocument.drawingml.chart+xml"/>
  <Override PartName="/ppt/charts/chart3562.xml" ContentType="application/vnd.openxmlformats-officedocument.drawingml.chart+xml"/>
  <Override PartName="/ppt/charts/chart3563.xml" ContentType="application/vnd.openxmlformats-officedocument.drawingml.chart+xml"/>
  <Override PartName="/ppt/charts/chart3564.xml" ContentType="application/vnd.openxmlformats-officedocument.drawingml.chart+xml"/>
  <Override PartName="/ppt/charts/chart3565.xml" ContentType="application/vnd.openxmlformats-officedocument.drawingml.chart+xml"/>
  <Override PartName="/ppt/charts/chart3566.xml" ContentType="application/vnd.openxmlformats-officedocument.drawingml.chart+xml"/>
  <Override PartName="/ppt/charts/chart3567.xml" ContentType="application/vnd.openxmlformats-officedocument.drawingml.chart+xml"/>
  <Override PartName="/ppt/charts/chart3568.xml" ContentType="application/vnd.openxmlformats-officedocument.drawingml.chart+xml"/>
  <Override PartName="/ppt/charts/chart3569.xml" ContentType="application/vnd.openxmlformats-officedocument.drawingml.chart+xml"/>
  <Override PartName="/ppt/charts/chart357.xml" ContentType="application/vnd.openxmlformats-officedocument.drawingml.chart+xml"/>
  <Override PartName="/ppt/charts/chart3570.xml" ContentType="application/vnd.openxmlformats-officedocument.drawingml.chart+xml"/>
  <Override PartName="/ppt/charts/chart3571.xml" ContentType="application/vnd.openxmlformats-officedocument.drawingml.chart+xml"/>
  <Override PartName="/ppt/charts/chart3572.xml" ContentType="application/vnd.openxmlformats-officedocument.drawingml.chart+xml"/>
  <Override PartName="/ppt/charts/chart3573.xml" ContentType="application/vnd.openxmlformats-officedocument.drawingml.chart+xml"/>
  <Override PartName="/ppt/charts/chart3574.xml" ContentType="application/vnd.openxmlformats-officedocument.drawingml.chart+xml"/>
  <Override PartName="/ppt/charts/chart3575.xml" ContentType="application/vnd.openxmlformats-officedocument.drawingml.chart+xml"/>
  <Override PartName="/ppt/charts/chart3576.xml" ContentType="application/vnd.openxmlformats-officedocument.drawingml.chart+xml"/>
  <Override PartName="/ppt/charts/chart3577.xml" ContentType="application/vnd.openxmlformats-officedocument.drawingml.chart+xml"/>
  <Override PartName="/ppt/charts/chart3578.xml" ContentType="application/vnd.openxmlformats-officedocument.drawingml.chart+xml"/>
  <Override PartName="/ppt/charts/chart3579.xml" ContentType="application/vnd.openxmlformats-officedocument.drawingml.chart+xml"/>
  <Override PartName="/ppt/charts/chart358.xml" ContentType="application/vnd.openxmlformats-officedocument.drawingml.chart+xml"/>
  <Override PartName="/ppt/charts/chart3580.xml" ContentType="application/vnd.openxmlformats-officedocument.drawingml.chart+xml"/>
  <Override PartName="/ppt/charts/chart3581.xml" ContentType="application/vnd.openxmlformats-officedocument.drawingml.chart+xml"/>
  <Override PartName="/ppt/charts/chart3582.xml" ContentType="application/vnd.openxmlformats-officedocument.drawingml.chart+xml"/>
  <Override PartName="/ppt/charts/chart3583.xml" ContentType="application/vnd.openxmlformats-officedocument.drawingml.chart+xml"/>
  <Override PartName="/ppt/charts/chart3584.xml" ContentType="application/vnd.openxmlformats-officedocument.drawingml.chart+xml"/>
  <Override PartName="/ppt/charts/chart3585.xml" ContentType="application/vnd.openxmlformats-officedocument.drawingml.chart+xml"/>
  <Override PartName="/ppt/charts/chart3586.xml" ContentType="application/vnd.openxmlformats-officedocument.drawingml.chart+xml"/>
  <Override PartName="/ppt/charts/chart3587.xml" ContentType="application/vnd.openxmlformats-officedocument.drawingml.chart+xml"/>
  <Override PartName="/ppt/charts/chart3588.xml" ContentType="application/vnd.openxmlformats-officedocument.drawingml.chart+xml"/>
  <Override PartName="/ppt/charts/chart3589.xml" ContentType="application/vnd.openxmlformats-officedocument.drawingml.chart+xml"/>
  <Override PartName="/ppt/charts/chart359.xml" ContentType="application/vnd.openxmlformats-officedocument.drawingml.chart+xml"/>
  <Override PartName="/ppt/charts/chart3590.xml" ContentType="application/vnd.openxmlformats-officedocument.drawingml.chart+xml"/>
  <Override PartName="/ppt/charts/chart3591.xml" ContentType="application/vnd.openxmlformats-officedocument.drawingml.chart+xml"/>
  <Override PartName="/ppt/charts/chart3592.xml" ContentType="application/vnd.openxmlformats-officedocument.drawingml.chart+xml"/>
  <Override PartName="/ppt/charts/chart3593.xml" ContentType="application/vnd.openxmlformats-officedocument.drawingml.chart+xml"/>
  <Override PartName="/ppt/charts/chart3594.xml" ContentType="application/vnd.openxmlformats-officedocument.drawingml.chart+xml"/>
  <Override PartName="/ppt/charts/chart3595.xml" ContentType="application/vnd.openxmlformats-officedocument.drawingml.chart+xml"/>
  <Override PartName="/ppt/charts/chart3596.xml" ContentType="application/vnd.openxmlformats-officedocument.drawingml.chart+xml"/>
  <Override PartName="/ppt/charts/chart3597.xml" ContentType="application/vnd.openxmlformats-officedocument.drawingml.chart+xml"/>
  <Override PartName="/ppt/charts/chart3598.xml" ContentType="application/vnd.openxmlformats-officedocument.drawingml.chart+xml"/>
  <Override PartName="/ppt/charts/chart359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00.xml" ContentType="application/vnd.openxmlformats-officedocument.drawingml.chart+xml"/>
  <Override PartName="/ppt/charts/chart3601.xml" ContentType="application/vnd.openxmlformats-officedocument.drawingml.chart+xml"/>
  <Override PartName="/ppt/charts/chart3602.xml" ContentType="application/vnd.openxmlformats-officedocument.drawingml.chart+xml"/>
  <Override PartName="/ppt/charts/chart3603.xml" ContentType="application/vnd.openxmlformats-officedocument.drawingml.chart+xml"/>
  <Override PartName="/ppt/charts/chart3604.xml" ContentType="application/vnd.openxmlformats-officedocument.drawingml.chart+xml"/>
  <Override PartName="/ppt/charts/chart3605.xml" ContentType="application/vnd.openxmlformats-officedocument.drawingml.chart+xml"/>
  <Override PartName="/ppt/charts/chart3606.xml" ContentType="application/vnd.openxmlformats-officedocument.drawingml.chart+xml"/>
  <Override PartName="/ppt/charts/chart3607.xml" ContentType="application/vnd.openxmlformats-officedocument.drawingml.chart+xml"/>
  <Override PartName="/ppt/charts/chart3608.xml" ContentType="application/vnd.openxmlformats-officedocument.drawingml.chart+xml"/>
  <Override PartName="/ppt/charts/chart3609.xml" ContentType="application/vnd.openxmlformats-officedocument.drawingml.chart+xml"/>
  <Override PartName="/ppt/charts/chart361.xml" ContentType="application/vnd.openxmlformats-officedocument.drawingml.chart+xml"/>
  <Override PartName="/ppt/charts/chart3610.xml" ContentType="application/vnd.openxmlformats-officedocument.drawingml.chart+xml"/>
  <Override PartName="/ppt/charts/chart3611.xml" ContentType="application/vnd.openxmlformats-officedocument.drawingml.chart+xml"/>
  <Override PartName="/ppt/charts/chart3612.xml" ContentType="application/vnd.openxmlformats-officedocument.drawingml.chart+xml"/>
  <Override PartName="/ppt/charts/chart3613.xml" ContentType="application/vnd.openxmlformats-officedocument.drawingml.chart+xml"/>
  <Override PartName="/ppt/charts/chart3614.xml" ContentType="application/vnd.openxmlformats-officedocument.drawingml.chart+xml"/>
  <Override PartName="/ppt/charts/chart3615.xml" ContentType="application/vnd.openxmlformats-officedocument.drawingml.chart+xml"/>
  <Override PartName="/ppt/charts/chart3616.xml" ContentType="application/vnd.openxmlformats-officedocument.drawingml.chart+xml"/>
  <Override PartName="/ppt/charts/chart3617.xml" ContentType="application/vnd.openxmlformats-officedocument.drawingml.chart+xml"/>
  <Override PartName="/ppt/charts/chart3618.xml" ContentType="application/vnd.openxmlformats-officedocument.drawingml.chart+xml"/>
  <Override PartName="/ppt/charts/chart3619.xml" ContentType="application/vnd.openxmlformats-officedocument.drawingml.chart+xml"/>
  <Override PartName="/ppt/charts/chart362.xml" ContentType="application/vnd.openxmlformats-officedocument.drawingml.chart+xml"/>
  <Override PartName="/ppt/charts/chart3620.xml" ContentType="application/vnd.openxmlformats-officedocument.drawingml.chart+xml"/>
  <Override PartName="/ppt/charts/chart3621.xml" ContentType="application/vnd.openxmlformats-officedocument.drawingml.chart+xml"/>
  <Override PartName="/ppt/charts/chart3622.xml" ContentType="application/vnd.openxmlformats-officedocument.drawingml.chart+xml"/>
  <Override PartName="/ppt/charts/chart3623.xml" ContentType="application/vnd.openxmlformats-officedocument.drawingml.chart+xml"/>
  <Override PartName="/ppt/charts/chart3624.xml" ContentType="application/vnd.openxmlformats-officedocument.drawingml.chart+xml"/>
  <Override PartName="/ppt/charts/chart3625.xml" ContentType="application/vnd.openxmlformats-officedocument.drawingml.chart+xml"/>
  <Override PartName="/ppt/charts/chart3626.xml" ContentType="application/vnd.openxmlformats-officedocument.drawingml.chart+xml"/>
  <Override PartName="/ppt/charts/chart3627.xml" ContentType="application/vnd.openxmlformats-officedocument.drawingml.chart+xml"/>
  <Override PartName="/ppt/charts/chart3628.xml" ContentType="application/vnd.openxmlformats-officedocument.drawingml.chart+xml"/>
  <Override PartName="/ppt/charts/chart3629.xml" ContentType="application/vnd.openxmlformats-officedocument.drawingml.chart+xml"/>
  <Override PartName="/ppt/charts/chart363.xml" ContentType="application/vnd.openxmlformats-officedocument.drawingml.chart+xml"/>
  <Override PartName="/ppt/charts/chart3630.xml" ContentType="application/vnd.openxmlformats-officedocument.drawingml.chart+xml"/>
  <Override PartName="/ppt/charts/chart3631.xml" ContentType="application/vnd.openxmlformats-officedocument.drawingml.chart+xml"/>
  <Override PartName="/ppt/charts/chart3632.xml" ContentType="application/vnd.openxmlformats-officedocument.drawingml.chart+xml"/>
  <Override PartName="/ppt/charts/chart3633.xml" ContentType="application/vnd.openxmlformats-officedocument.drawingml.chart+xml"/>
  <Override PartName="/ppt/charts/chart3634.xml" ContentType="application/vnd.openxmlformats-officedocument.drawingml.chart+xml"/>
  <Override PartName="/ppt/charts/chart3635.xml" ContentType="application/vnd.openxmlformats-officedocument.drawingml.chart+xml"/>
  <Override PartName="/ppt/charts/chart3636.xml" ContentType="application/vnd.openxmlformats-officedocument.drawingml.chart+xml"/>
  <Override PartName="/ppt/charts/chart3637.xml" ContentType="application/vnd.openxmlformats-officedocument.drawingml.chart+xml"/>
  <Override PartName="/ppt/charts/chart3638.xml" ContentType="application/vnd.openxmlformats-officedocument.drawingml.chart+xml"/>
  <Override PartName="/ppt/charts/chart3639.xml" ContentType="application/vnd.openxmlformats-officedocument.drawingml.chart+xml"/>
  <Override PartName="/ppt/charts/chart364.xml" ContentType="application/vnd.openxmlformats-officedocument.drawingml.chart+xml"/>
  <Override PartName="/ppt/charts/chart3640.xml" ContentType="application/vnd.openxmlformats-officedocument.drawingml.chart+xml"/>
  <Override PartName="/ppt/charts/chart3641.xml" ContentType="application/vnd.openxmlformats-officedocument.drawingml.chart+xml"/>
  <Override PartName="/ppt/charts/chart3642.xml" ContentType="application/vnd.openxmlformats-officedocument.drawingml.chart+xml"/>
  <Override PartName="/ppt/charts/chart3643.xml" ContentType="application/vnd.openxmlformats-officedocument.drawingml.chart+xml"/>
  <Override PartName="/ppt/charts/chart3644.xml" ContentType="application/vnd.openxmlformats-officedocument.drawingml.chart+xml"/>
  <Override PartName="/ppt/charts/chart3645.xml" ContentType="application/vnd.openxmlformats-officedocument.drawingml.chart+xml"/>
  <Override PartName="/ppt/charts/chart3646.xml" ContentType="application/vnd.openxmlformats-officedocument.drawingml.chart+xml"/>
  <Override PartName="/ppt/charts/chart3647.xml" ContentType="application/vnd.openxmlformats-officedocument.drawingml.chart+xml"/>
  <Override PartName="/ppt/charts/chart3648.xml" ContentType="application/vnd.openxmlformats-officedocument.drawingml.chart+xml"/>
  <Override PartName="/ppt/charts/chart3649.xml" ContentType="application/vnd.openxmlformats-officedocument.drawingml.chart+xml"/>
  <Override PartName="/ppt/charts/chart365.xml" ContentType="application/vnd.openxmlformats-officedocument.drawingml.chart+xml"/>
  <Override PartName="/ppt/charts/chart3650.xml" ContentType="application/vnd.openxmlformats-officedocument.drawingml.chart+xml"/>
  <Override PartName="/ppt/charts/chart3651.xml" ContentType="application/vnd.openxmlformats-officedocument.drawingml.chart+xml"/>
  <Override PartName="/ppt/charts/chart3652.xml" ContentType="application/vnd.openxmlformats-officedocument.drawingml.chart+xml"/>
  <Override PartName="/ppt/charts/chart3653.xml" ContentType="application/vnd.openxmlformats-officedocument.drawingml.chart+xml"/>
  <Override PartName="/ppt/charts/chart3654.xml" ContentType="application/vnd.openxmlformats-officedocument.drawingml.chart+xml"/>
  <Override PartName="/ppt/charts/chart3655.xml" ContentType="application/vnd.openxmlformats-officedocument.drawingml.chart+xml"/>
  <Override PartName="/ppt/charts/chart3656.xml" ContentType="application/vnd.openxmlformats-officedocument.drawingml.chart+xml"/>
  <Override PartName="/ppt/charts/chart3657.xml" ContentType="application/vnd.openxmlformats-officedocument.drawingml.chart+xml"/>
  <Override PartName="/ppt/charts/chart3658.xml" ContentType="application/vnd.openxmlformats-officedocument.drawingml.chart+xml"/>
  <Override PartName="/ppt/charts/chart3659.xml" ContentType="application/vnd.openxmlformats-officedocument.drawingml.chart+xml"/>
  <Override PartName="/ppt/charts/chart366.xml" ContentType="application/vnd.openxmlformats-officedocument.drawingml.chart+xml"/>
  <Override PartName="/ppt/charts/chart3660.xml" ContentType="application/vnd.openxmlformats-officedocument.drawingml.chart+xml"/>
  <Override PartName="/ppt/charts/chart3661.xml" ContentType="application/vnd.openxmlformats-officedocument.drawingml.chart+xml"/>
  <Override PartName="/ppt/charts/chart3662.xml" ContentType="application/vnd.openxmlformats-officedocument.drawingml.chart+xml"/>
  <Override PartName="/ppt/charts/chart3663.xml" ContentType="application/vnd.openxmlformats-officedocument.drawingml.chart+xml"/>
  <Override PartName="/ppt/charts/chart3664.xml" ContentType="application/vnd.openxmlformats-officedocument.drawingml.chart+xml"/>
  <Override PartName="/ppt/charts/chart3665.xml" ContentType="application/vnd.openxmlformats-officedocument.drawingml.chart+xml"/>
  <Override PartName="/ppt/charts/chart3666.xml" ContentType="application/vnd.openxmlformats-officedocument.drawingml.chart+xml"/>
  <Override PartName="/ppt/charts/chart3667.xml" ContentType="application/vnd.openxmlformats-officedocument.drawingml.chart+xml"/>
  <Override PartName="/ppt/charts/chart3668.xml" ContentType="application/vnd.openxmlformats-officedocument.drawingml.chart+xml"/>
  <Override PartName="/ppt/charts/chart3669.xml" ContentType="application/vnd.openxmlformats-officedocument.drawingml.chart+xml"/>
  <Override PartName="/ppt/charts/chart367.xml" ContentType="application/vnd.openxmlformats-officedocument.drawingml.chart+xml"/>
  <Override PartName="/ppt/charts/chart3670.xml" ContentType="application/vnd.openxmlformats-officedocument.drawingml.chart+xml"/>
  <Override PartName="/ppt/charts/chart3671.xml" ContentType="application/vnd.openxmlformats-officedocument.drawingml.chart+xml"/>
  <Override PartName="/ppt/charts/chart3672.xml" ContentType="application/vnd.openxmlformats-officedocument.drawingml.chart+xml"/>
  <Override PartName="/ppt/charts/chart3673.xml" ContentType="application/vnd.openxmlformats-officedocument.drawingml.chart+xml"/>
  <Override PartName="/ppt/charts/chart3674.xml" ContentType="application/vnd.openxmlformats-officedocument.drawingml.chart+xml"/>
  <Override PartName="/ppt/charts/chart3675.xml" ContentType="application/vnd.openxmlformats-officedocument.drawingml.chart+xml"/>
  <Override PartName="/ppt/charts/chart3676.xml" ContentType="application/vnd.openxmlformats-officedocument.drawingml.chart+xml"/>
  <Override PartName="/ppt/charts/chart3677.xml" ContentType="application/vnd.openxmlformats-officedocument.drawingml.chart+xml"/>
  <Override PartName="/ppt/charts/chart3678.xml" ContentType="application/vnd.openxmlformats-officedocument.drawingml.chart+xml"/>
  <Override PartName="/ppt/charts/chart3679.xml" ContentType="application/vnd.openxmlformats-officedocument.drawingml.chart+xml"/>
  <Override PartName="/ppt/charts/chart368.xml" ContentType="application/vnd.openxmlformats-officedocument.drawingml.chart+xml"/>
  <Override PartName="/ppt/charts/chart3680.xml" ContentType="application/vnd.openxmlformats-officedocument.drawingml.chart+xml"/>
  <Override PartName="/ppt/charts/chart3681.xml" ContentType="application/vnd.openxmlformats-officedocument.drawingml.chart+xml"/>
  <Override PartName="/ppt/charts/chart3682.xml" ContentType="application/vnd.openxmlformats-officedocument.drawingml.chart+xml"/>
  <Override PartName="/ppt/charts/chart3683.xml" ContentType="application/vnd.openxmlformats-officedocument.drawingml.chart+xml"/>
  <Override PartName="/ppt/charts/chart3684.xml" ContentType="application/vnd.openxmlformats-officedocument.drawingml.chart+xml"/>
  <Override PartName="/ppt/charts/chart3685.xml" ContentType="application/vnd.openxmlformats-officedocument.drawingml.chart+xml"/>
  <Override PartName="/ppt/charts/chart3686.xml" ContentType="application/vnd.openxmlformats-officedocument.drawingml.chart+xml"/>
  <Override PartName="/ppt/charts/chart3687.xml" ContentType="application/vnd.openxmlformats-officedocument.drawingml.chart+xml"/>
  <Override PartName="/ppt/charts/chart3688.xml" ContentType="application/vnd.openxmlformats-officedocument.drawingml.chart+xml"/>
  <Override PartName="/ppt/charts/chart3689.xml" ContentType="application/vnd.openxmlformats-officedocument.drawingml.chart+xml"/>
  <Override PartName="/ppt/charts/chart369.xml" ContentType="application/vnd.openxmlformats-officedocument.drawingml.chart+xml"/>
  <Override PartName="/ppt/charts/chart3690.xml" ContentType="application/vnd.openxmlformats-officedocument.drawingml.chart+xml"/>
  <Override PartName="/ppt/charts/chart3691.xml" ContentType="application/vnd.openxmlformats-officedocument.drawingml.chart+xml"/>
  <Override PartName="/ppt/charts/chart3692.xml" ContentType="application/vnd.openxmlformats-officedocument.drawingml.chart+xml"/>
  <Override PartName="/ppt/charts/chart3693.xml" ContentType="application/vnd.openxmlformats-officedocument.drawingml.chart+xml"/>
  <Override PartName="/ppt/charts/chart3694.xml" ContentType="application/vnd.openxmlformats-officedocument.drawingml.chart+xml"/>
  <Override PartName="/ppt/charts/chart3695.xml" ContentType="application/vnd.openxmlformats-officedocument.drawingml.chart+xml"/>
  <Override PartName="/ppt/charts/chart3696.xml" ContentType="application/vnd.openxmlformats-officedocument.drawingml.chart+xml"/>
  <Override PartName="/ppt/charts/chart3697.xml" ContentType="application/vnd.openxmlformats-officedocument.drawingml.chart+xml"/>
  <Override PartName="/ppt/charts/chart3698.xml" ContentType="application/vnd.openxmlformats-officedocument.drawingml.chart+xml"/>
  <Override PartName="/ppt/charts/chart369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00.xml" ContentType="application/vnd.openxmlformats-officedocument.drawingml.chart+xml"/>
  <Override PartName="/ppt/charts/chart3701.xml" ContentType="application/vnd.openxmlformats-officedocument.drawingml.chart+xml"/>
  <Override PartName="/ppt/charts/chart3702.xml" ContentType="application/vnd.openxmlformats-officedocument.drawingml.chart+xml"/>
  <Override PartName="/ppt/charts/chart3703.xml" ContentType="application/vnd.openxmlformats-officedocument.drawingml.chart+xml"/>
  <Override PartName="/ppt/charts/chart3704.xml" ContentType="application/vnd.openxmlformats-officedocument.drawingml.chart+xml"/>
  <Override PartName="/ppt/charts/chart3705.xml" ContentType="application/vnd.openxmlformats-officedocument.drawingml.chart+xml"/>
  <Override PartName="/ppt/charts/chart3706.xml" ContentType="application/vnd.openxmlformats-officedocument.drawingml.chart+xml"/>
  <Override PartName="/ppt/charts/chart3707.xml" ContentType="application/vnd.openxmlformats-officedocument.drawingml.chart+xml"/>
  <Override PartName="/ppt/charts/chart3708.xml" ContentType="application/vnd.openxmlformats-officedocument.drawingml.chart+xml"/>
  <Override PartName="/ppt/charts/chart3709.xml" ContentType="application/vnd.openxmlformats-officedocument.drawingml.chart+xml"/>
  <Override PartName="/ppt/charts/chart371.xml" ContentType="application/vnd.openxmlformats-officedocument.drawingml.chart+xml"/>
  <Override PartName="/ppt/charts/chart3710.xml" ContentType="application/vnd.openxmlformats-officedocument.drawingml.chart+xml"/>
  <Override PartName="/ppt/charts/chart3711.xml" ContentType="application/vnd.openxmlformats-officedocument.drawingml.chart+xml"/>
  <Override PartName="/ppt/charts/chart3712.xml" ContentType="application/vnd.openxmlformats-officedocument.drawingml.chart+xml"/>
  <Override PartName="/ppt/charts/chart3713.xml" ContentType="application/vnd.openxmlformats-officedocument.drawingml.chart+xml"/>
  <Override PartName="/ppt/charts/chart3714.xml" ContentType="application/vnd.openxmlformats-officedocument.drawingml.chart+xml"/>
  <Override PartName="/ppt/charts/chart3715.xml" ContentType="application/vnd.openxmlformats-officedocument.drawingml.chart+xml"/>
  <Override PartName="/ppt/charts/chart3716.xml" ContentType="application/vnd.openxmlformats-officedocument.drawingml.chart+xml"/>
  <Override PartName="/ppt/charts/chart3717.xml" ContentType="application/vnd.openxmlformats-officedocument.drawingml.chart+xml"/>
  <Override PartName="/ppt/charts/chart3718.xml" ContentType="application/vnd.openxmlformats-officedocument.drawingml.chart+xml"/>
  <Override PartName="/ppt/charts/chart3719.xml" ContentType="application/vnd.openxmlformats-officedocument.drawingml.chart+xml"/>
  <Override PartName="/ppt/charts/chart372.xml" ContentType="application/vnd.openxmlformats-officedocument.drawingml.chart+xml"/>
  <Override PartName="/ppt/charts/chart3720.xml" ContentType="application/vnd.openxmlformats-officedocument.drawingml.chart+xml"/>
  <Override PartName="/ppt/charts/chart3721.xml" ContentType="application/vnd.openxmlformats-officedocument.drawingml.chart+xml"/>
  <Override PartName="/ppt/charts/chart3722.xml" ContentType="application/vnd.openxmlformats-officedocument.drawingml.chart+xml"/>
  <Override PartName="/ppt/charts/chart3723.xml" ContentType="application/vnd.openxmlformats-officedocument.drawingml.chart+xml"/>
  <Override PartName="/ppt/charts/chart3724.xml" ContentType="application/vnd.openxmlformats-officedocument.drawingml.chart+xml"/>
  <Override PartName="/ppt/charts/chart3725.xml" ContentType="application/vnd.openxmlformats-officedocument.drawingml.chart+xml"/>
  <Override PartName="/ppt/charts/chart3726.xml" ContentType="application/vnd.openxmlformats-officedocument.drawingml.chart+xml"/>
  <Override PartName="/ppt/charts/chart3727.xml" ContentType="application/vnd.openxmlformats-officedocument.drawingml.chart+xml"/>
  <Override PartName="/ppt/charts/chart3728.xml" ContentType="application/vnd.openxmlformats-officedocument.drawingml.chart+xml"/>
  <Override PartName="/ppt/charts/chart3729.xml" ContentType="application/vnd.openxmlformats-officedocument.drawingml.chart+xml"/>
  <Override PartName="/ppt/charts/chart373.xml" ContentType="application/vnd.openxmlformats-officedocument.drawingml.chart+xml"/>
  <Override PartName="/ppt/charts/chart3730.xml" ContentType="application/vnd.openxmlformats-officedocument.drawingml.chart+xml"/>
  <Override PartName="/ppt/charts/chart3731.xml" ContentType="application/vnd.openxmlformats-officedocument.drawingml.chart+xml"/>
  <Override PartName="/ppt/charts/chart3732.xml" ContentType="application/vnd.openxmlformats-officedocument.drawingml.chart+xml"/>
  <Override PartName="/ppt/charts/chart3733.xml" ContentType="application/vnd.openxmlformats-officedocument.drawingml.chart+xml"/>
  <Override PartName="/ppt/charts/chart3734.xml" ContentType="application/vnd.openxmlformats-officedocument.drawingml.chart+xml"/>
  <Override PartName="/ppt/charts/chart3735.xml" ContentType="application/vnd.openxmlformats-officedocument.drawingml.chart+xml"/>
  <Override PartName="/ppt/charts/chart3736.xml" ContentType="application/vnd.openxmlformats-officedocument.drawingml.chart+xml"/>
  <Override PartName="/ppt/charts/chart3737.xml" ContentType="application/vnd.openxmlformats-officedocument.drawingml.chart+xml"/>
  <Override PartName="/ppt/charts/chart3738.xml" ContentType="application/vnd.openxmlformats-officedocument.drawingml.chart+xml"/>
  <Override PartName="/ppt/charts/chart3739.xml" ContentType="application/vnd.openxmlformats-officedocument.drawingml.chart+xml"/>
  <Override PartName="/ppt/charts/chart374.xml" ContentType="application/vnd.openxmlformats-officedocument.drawingml.chart+xml"/>
  <Override PartName="/ppt/charts/chart3740.xml" ContentType="application/vnd.openxmlformats-officedocument.drawingml.chart+xml"/>
  <Override PartName="/ppt/charts/chart3741.xml" ContentType="application/vnd.openxmlformats-officedocument.drawingml.chart+xml"/>
  <Override PartName="/ppt/charts/chart3742.xml" ContentType="application/vnd.openxmlformats-officedocument.drawingml.chart+xml"/>
  <Override PartName="/ppt/charts/chart3743.xml" ContentType="application/vnd.openxmlformats-officedocument.drawingml.chart+xml"/>
  <Override PartName="/ppt/charts/chart3744.xml" ContentType="application/vnd.openxmlformats-officedocument.drawingml.chart+xml"/>
  <Override PartName="/ppt/charts/chart3745.xml" ContentType="application/vnd.openxmlformats-officedocument.drawingml.chart+xml"/>
  <Override PartName="/ppt/charts/chart3746.xml" ContentType="application/vnd.openxmlformats-officedocument.drawingml.chart+xml"/>
  <Override PartName="/ppt/charts/chart3747.xml" ContentType="application/vnd.openxmlformats-officedocument.drawingml.chart+xml"/>
  <Override PartName="/ppt/charts/chart3748.xml" ContentType="application/vnd.openxmlformats-officedocument.drawingml.chart+xml"/>
  <Override PartName="/ppt/charts/chart3749.xml" ContentType="application/vnd.openxmlformats-officedocument.drawingml.chart+xml"/>
  <Override PartName="/ppt/charts/chart375.xml" ContentType="application/vnd.openxmlformats-officedocument.drawingml.chart+xml"/>
  <Override PartName="/ppt/charts/chart3750.xml" ContentType="application/vnd.openxmlformats-officedocument.drawingml.chart+xml"/>
  <Override PartName="/ppt/charts/chart3751.xml" ContentType="application/vnd.openxmlformats-officedocument.drawingml.chart+xml"/>
  <Override PartName="/ppt/charts/chart3752.xml" ContentType="application/vnd.openxmlformats-officedocument.drawingml.chart+xml"/>
  <Override PartName="/ppt/charts/chart3753.xml" ContentType="application/vnd.openxmlformats-officedocument.drawingml.chart+xml"/>
  <Override PartName="/ppt/charts/chart3754.xml" ContentType="application/vnd.openxmlformats-officedocument.drawingml.chart+xml"/>
  <Override PartName="/ppt/charts/chart3755.xml" ContentType="application/vnd.openxmlformats-officedocument.drawingml.chart+xml"/>
  <Override PartName="/ppt/charts/chart3756.xml" ContentType="application/vnd.openxmlformats-officedocument.drawingml.chart+xml"/>
  <Override PartName="/ppt/charts/chart3757.xml" ContentType="application/vnd.openxmlformats-officedocument.drawingml.chart+xml"/>
  <Override PartName="/ppt/charts/chart3758.xml" ContentType="application/vnd.openxmlformats-officedocument.drawingml.chart+xml"/>
  <Override PartName="/ppt/charts/chart3759.xml" ContentType="application/vnd.openxmlformats-officedocument.drawingml.chart+xml"/>
  <Override PartName="/ppt/charts/chart376.xml" ContentType="application/vnd.openxmlformats-officedocument.drawingml.chart+xml"/>
  <Override PartName="/ppt/charts/chart3760.xml" ContentType="application/vnd.openxmlformats-officedocument.drawingml.chart+xml"/>
  <Override PartName="/ppt/charts/chart3761.xml" ContentType="application/vnd.openxmlformats-officedocument.drawingml.chart+xml"/>
  <Override PartName="/ppt/charts/chart3762.xml" ContentType="application/vnd.openxmlformats-officedocument.drawingml.chart+xml"/>
  <Override PartName="/ppt/charts/chart3763.xml" ContentType="application/vnd.openxmlformats-officedocument.drawingml.chart+xml"/>
  <Override PartName="/ppt/charts/chart3764.xml" ContentType="application/vnd.openxmlformats-officedocument.drawingml.chart+xml"/>
  <Override PartName="/ppt/charts/chart3765.xml" ContentType="application/vnd.openxmlformats-officedocument.drawingml.chart+xml"/>
  <Override PartName="/ppt/charts/chart3766.xml" ContentType="application/vnd.openxmlformats-officedocument.drawingml.chart+xml"/>
  <Override PartName="/ppt/charts/chart3767.xml" ContentType="application/vnd.openxmlformats-officedocument.drawingml.chart+xml"/>
  <Override PartName="/ppt/charts/chart3768.xml" ContentType="application/vnd.openxmlformats-officedocument.drawingml.chart+xml"/>
  <Override PartName="/ppt/charts/chart3769.xml" ContentType="application/vnd.openxmlformats-officedocument.drawingml.chart+xml"/>
  <Override PartName="/ppt/charts/chart377.xml" ContentType="application/vnd.openxmlformats-officedocument.drawingml.chart+xml"/>
  <Override PartName="/ppt/charts/chart3770.xml" ContentType="application/vnd.openxmlformats-officedocument.drawingml.chart+xml"/>
  <Override PartName="/ppt/charts/chart3771.xml" ContentType="application/vnd.openxmlformats-officedocument.drawingml.chart+xml"/>
  <Override PartName="/ppt/charts/chart3772.xml" ContentType="application/vnd.openxmlformats-officedocument.drawingml.chart+xml"/>
  <Override PartName="/ppt/charts/chart3773.xml" ContentType="application/vnd.openxmlformats-officedocument.drawingml.chart+xml"/>
  <Override PartName="/ppt/charts/chart3774.xml" ContentType="application/vnd.openxmlformats-officedocument.drawingml.chart+xml"/>
  <Override PartName="/ppt/charts/chart3775.xml" ContentType="application/vnd.openxmlformats-officedocument.drawingml.chart+xml"/>
  <Override PartName="/ppt/charts/chart3776.xml" ContentType="application/vnd.openxmlformats-officedocument.drawingml.chart+xml"/>
  <Override PartName="/ppt/charts/chart3777.xml" ContentType="application/vnd.openxmlformats-officedocument.drawingml.chart+xml"/>
  <Override PartName="/ppt/charts/chart3778.xml" ContentType="application/vnd.openxmlformats-officedocument.drawingml.chart+xml"/>
  <Override PartName="/ppt/charts/chart3779.xml" ContentType="application/vnd.openxmlformats-officedocument.drawingml.chart+xml"/>
  <Override PartName="/ppt/charts/chart378.xml" ContentType="application/vnd.openxmlformats-officedocument.drawingml.chart+xml"/>
  <Override PartName="/ppt/charts/chart3780.xml" ContentType="application/vnd.openxmlformats-officedocument.drawingml.chart+xml"/>
  <Override PartName="/ppt/charts/chart3781.xml" ContentType="application/vnd.openxmlformats-officedocument.drawingml.chart+xml"/>
  <Override PartName="/ppt/charts/chart3782.xml" ContentType="application/vnd.openxmlformats-officedocument.drawingml.chart+xml"/>
  <Override PartName="/ppt/charts/chart3783.xml" ContentType="application/vnd.openxmlformats-officedocument.drawingml.chart+xml"/>
  <Override PartName="/ppt/charts/chart3784.xml" ContentType="application/vnd.openxmlformats-officedocument.drawingml.chart+xml"/>
  <Override PartName="/ppt/charts/chart3785.xml" ContentType="application/vnd.openxmlformats-officedocument.drawingml.chart+xml"/>
  <Override PartName="/ppt/charts/chart3786.xml" ContentType="application/vnd.openxmlformats-officedocument.drawingml.chart+xml"/>
  <Override PartName="/ppt/charts/chart3787.xml" ContentType="application/vnd.openxmlformats-officedocument.drawingml.chart+xml"/>
  <Override PartName="/ppt/charts/chart3788.xml" ContentType="application/vnd.openxmlformats-officedocument.drawingml.chart+xml"/>
  <Override PartName="/ppt/charts/chart3789.xml" ContentType="application/vnd.openxmlformats-officedocument.drawingml.chart+xml"/>
  <Override PartName="/ppt/charts/chart379.xml" ContentType="application/vnd.openxmlformats-officedocument.drawingml.chart+xml"/>
  <Override PartName="/ppt/charts/chart3790.xml" ContentType="application/vnd.openxmlformats-officedocument.drawingml.chart+xml"/>
  <Override PartName="/ppt/charts/chart3791.xml" ContentType="application/vnd.openxmlformats-officedocument.drawingml.chart+xml"/>
  <Override PartName="/ppt/charts/chart3792.xml" ContentType="application/vnd.openxmlformats-officedocument.drawingml.chart+xml"/>
  <Override PartName="/ppt/charts/chart3793.xml" ContentType="application/vnd.openxmlformats-officedocument.drawingml.chart+xml"/>
  <Override PartName="/ppt/charts/chart3794.xml" ContentType="application/vnd.openxmlformats-officedocument.drawingml.chart+xml"/>
  <Override PartName="/ppt/charts/chart3795.xml" ContentType="application/vnd.openxmlformats-officedocument.drawingml.chart+xml"/>
  <Override PartName="/ppt/charts/chart3796.xml" ContentType="application/vnd.openxmlformats-officedocument.drawingml.chart+xml"/>
  <Override PartName="/ppt/charts/chart3797.xml" ContentType="application/vnd.openxmlformats-officedocument.drawingml.chart+xml"/>
  <Override PartName="/ppt/charts/chart3798.xml" ContentType="application/vnd.openxmlformats-officedocument.drawingml.chart+xml"/>
  <Override PartName="/ppt/charts/chart379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00.xml" ContentType="application/vnd.openxmlformats-officedocument.drawingml.chart+xml"/>
  <Override PartName="/ppt/charts/chart3801.xml" ContentType="application/vnd.openxmlformats-officedocument.drawingml.chart+xml"/>
  <Override PartName="/ppt/charts/chart3802.xml" ContentType="application/vnd.openxmlformats-officedocument.drawingml.chart+xml"/>
  <Override PartName="/ppt/charts/chart3803.xml" ContentType="application/vnd.openxmlformats-officedocument.drawingml.chart+xml"/>
  <Override PartName="/ppt/charts/chart3804.xml" ContentType="application/vnd.openxmlformats-officedocument.drawingml.chart+xml"/>
  <Override PartName="/ppt/charts/chart3805.xml" ContentType="application/vnd.openxmlformats-officedocument.drawingml.chart+xml"/>
  <Override PartName="/ppt/charts/chart3806.xml" ContentType="application/vnd.openxmlformats-officedocument.drawingml.chart+xml"/>
  <Override PartName="/ppt/charts/chart3807.xml" ContentType="application/vnd.openxmlformats-officedocument.drawingml.chart+xml"/>
  <Override PartName="/ppt/charts/chart3808.xml" ContentType="application/vnd.openxmlformats-officedocument.drawingml.chart+xml"/>
  <Override PartName="/ppt/charts/chart3809.xml" ContentType="application/vnd.openxmlformats-officedocument.drawingml.chart+xml"/>
  <Override PartName="/ppt/charts/chart381.xml" ContentType="application/vnd.openxmlformats-officedocument.drawingml.chart+xml"/>
  <Override PartName="/ppt/charts/chart3810.xml" ContentType="application/vnd.openxmlformats-officedocument.drawingml.chart+xml"/>
  <Override PartName="/ppt/charts/chart3811.xml" ContentType="application/vnd.openxmlformats-officedocument.drawingml.chart+xml"/>
  <Override PartName="/ppt/charts/chart3812.xml" ContentType="application/vnd.openxmlformats-officedocument.drawingml.chart+xml"/>
  <Override PartName="/ppt/charts/chart3813.xml" ContentType="application/vnd.openxmlformats-officedocument.drawingml.chart+xml"/>
  <Override PartName="/ppt/charts/chart3814.xml" ContentType="application/vnd.openxmlformats-officedocument.drawingml.chart+xml"/>
  <Override PartName="/ppt/charts/chart3815.xml" ContentType="application/vnd.openxmlformats-officedocument.drawingml.chart+xml"/>
  <Override PartName="/ppt/charts/chart3816.xml" ContentType="application/vnd.openxmlformats-officedocument.drawingml.chart+xml"/>
  <Override PartName="/ppt/charts/chart3817.xml" ContentType="application/vnd.openxmlformats-officedocument.drawingml.chart+xml"/>
  <Override PartName="/ppt/charts/chart3818.xml" ContentType="application/vnd.openxmlformats-officedocument.drawingml.chart+xml"/>
  <Override PartName="/ppt/charts/chart3819.xml" ContentType="application/vnd.openxmlformats-officedocument.drawingml.chart+xml"/>
  <Override PartName="/ppt/charts/chart382.xml" ContentType="application/vnd.openxmlformats-officedocument.drawingml.chart+xml"/>
  <Override PartName="/ppt/charts/chart3820.xml" ContentType="application/vnd.openxmlformats-officedocument.drawingml.chart+xml"/>
  <Override PartName="/ppt/charts/chart3821.xml" ContentType="application/vnd.openxmlformats-officedocument.drawingml.chart+xml"/>
  <Override PartName="/ppt/charts/chart3822.xml" ContentType="application/vnd.openxmlformats-officedocument.drawingml.chart+xml"/>
  <Override PartName="/ppt/charts/chart3823.xml" ContentType="application/vnd.openxmlformats-officedocument.drawingml.chart+xml"/>
  <Override PartName="/ppt/charts/chart3824.xml" ContentType="application/vnd.openxmlformats-officedocument.drawingml.chart+xml"/>
  <Override PartName="/ppt/charts/chart3825.xml" ContentType="application/vnd.openxmlformats-officedocument.drawingml.chart+xml"/>
  <Override PartName="/ppt/charts/chart3826.xml" ContentType="application/vnd.openxmlformats-officedocument.drawingml.chart+xml"/>
  <Override PartName="/ppt/charts/chart3827.xml" ContentType="application/vnd.openxmlformats-officedocument.drawingml.chart+xml"/>
  <Override PartName="/ppt/charts/chart3828.xml" ContentType="application/vnd.openxmlformats-officedocument.drawingml.chart+xml"/>
  <Override PartName="/ppt/charts/chart3829.xml" ContentType="application/vnd.openxmlformats-officedocument.drawingml.chart+xml"/>
  <Override PartName="/ppt/charts/chart383.xml" ContentType="application/vnd.openxmlformats-officedocument.drawingml.chart+xml"/>
  <Override PartName="/ppt/charts/chart3830.xml" ContentType="application/vnd.openxmlformats-officedocument.drawingml.chart+xml"/>
  <Override PartName="/ppt/charts/chart3831.xml" ContentType="application/vnd.openxmlformats-officedocument.drawingml.chart+xml"/>
  <Override PartName="/ppt/charts/chart3832.xml" ContentType="application/vnd.openxmlformats-officedocument.drawingml.chart+xml"/>
  <Override PartName="/ppt/charts/chart3833.xml" ContentType="application/vnd.openxmlformats-officedocument.drawingml.chart+xml"/>
  <Override PartName="/ppt/charts/chart3834.xml" ContentType="application/vnd.openxmlformats-officedocument.drawingml.chart+xml"/>
  <Override PartName="/ppt/charts/chart3835.xml" ContentType="application/vnd.openxmlformats-officedocument.drawingml.chart+xml"/>
  <Override PartName="/ppt/charts/chart3836.xml" ContentType="application/vnd.openxmlformats-officedocument.drawingml.chart+xml"/>
  <Override PartName="/ppt/charts/chart3837.xml" ContentType="application/vnd.openxmlformats-officedocument.drawingml.chart+xml"/>
  <Override PartName="/ppt/charts/chart3838.xml" ContentType="application/vnd.openxmlformats-officedocument.drawingml.chart+xml"/>
  <Override PartName="/ppt/charts/chart3839.xml" ContentType="application/vnd.openxmlformats-officedocument.drawingml.chart+xml"/>
  <Override PartName="/ppt/charts/chart384.xml" ContentType="application/vnd.openxmlformats-officedocument.drawingml.chart+xml"/>
  <Override PartName="/ppt/charts/chart3840.xml" ContentType="application/vnd.openxmlformats-officedocument.drawingml.chart+xml"/>
  <Override PartName="/ppt/charts/chart3841.xml" ContentType="application/vnd.openxmlformats-officedocument.drawingml.chart+xml"/>
  <Override PartName="/ppt/charts/chart3842.xml" ContentType="application/vnd.openxmlformats-officedocument.drawingml.chart+xml"/>
  <Override PartName="/ppt/charts/chart3843.xml" ContentType="application/vnd.openxmlformats-officedocument.drawingml.chart+xml"/>
  <Override PartName="/ppt/charts/chart3844.xml" ContentType="application/vnd.openxmlformats-officedocument.drawingml.chart+xml"/>
  <Override PartName="/ppt/charts/chart3845.xml" ContentType="application/vnd.openxmlformats-officedocument.drawingml.chart+xml"/>
  <Override PartName="/ppt/charts/chart3846.xml" ContentType="application/vnd.openxmlformats-officedocument.drawingml.chart+xml"/>
  <Override PartName="/ppt/charts/chart3847.xml" ContentType="application/vnd.openxmlformats-officedocument.drawingml.chart+xml"/>
  <Override PartName="/ppt/charts/chart3848.xml" ContentType="application/vnd.openxmlformats-officedocument.drawingml.chart+xml"/>
  <Override PartName="/ppt/charts/chart3849.xml" ContentType="application/vnd.openxmlformats-officedocument.drawingml.chart+xml"/>
  <Override PartName="/ppt/charts/chart385.xml" ContentType="application/vnd.openxmlformats-officedocument.drawingml.chart+xml"/>
  <Override PartName="/ppt/charts/chart3850.xml" ContentType="application/vnd.openxmlformats-officedocument.drawingml.chart+xml"/>
  <Override PartName="/ppt/charts/chart3851.xml" ContentType="application/vnd.openxmlformats-officedocument.drawingml.chart+xml"/>
  <Override PartName="/ppt/charts/chart3852.xml" ContentType="application/vnd.openxmlformats-officedocument.drawingml.chart+xml"/>
  <Override PartName="/ppt/charts/chart3853.xml" ContentType="application/vnd.openxmlformats-officedocument.drawingml.chart+xml"/>
  <Override PartName="/ppt/charts/chart3854.xml" ContentType="application/vnd.openxmlformats-officedocument.drawingml.chart+xml"/>
  <Override PartName="/ppt/charts/chart3855.xml" ContentType="application/vnd.openxmlformats-officedocument.drawingml.chart+xml"/>
  <Override PartName="/ppt/charts/chart3856.xml" ContentType="application/vnd.openxmlformats-officedocument.drawingml.chart+xml"/>
  <Override PartName="/ppt/charts/chart3857.xml" ContentType="application/vnd.openxmlformats-officedocument.drawingml.chart+xml"/>
  <Override PartName="/ppt/charts/chart3858.xml" ContentType="application/vnd.openxmlformats-officedocument.drawingml.chart+xml"/>
  <Override PartName="/ppt/charts/chart3859.xml" ContentType="application/vnd.openxmlformats-officedocument.drawingml.chart+xml"/>
  <Override PartName="/ppt/charts/chart386.xml" ContentType="application/vnd.openxmlformats-officedocument.drawingml.chart+xml"/>
  <Override PartName="/ppt/charts/chart3860.xml" ContentType="application/vnd.openxmlformats-officedocument.drawingml.chart+xml"/>
  <Override PartName="/ppt/charts/chart3861.xml" ContentType="application/vnd.openxmlformats-officedocument.drawingml.chart+xml"/>
  <Override PartName="/ppt/charts/chart3862.xml" ContentType="application/vnd.openxmlformats-officedocument.drawingml.chart+xml"/>
  <Override PartName="/ppt/charts/chart3863.xml" ContentType="application/vnd.openxmlformats-officedocument.drawingml.chart+xml"/>
  <Override PartName="/ppt/charts/chart3864.xml" ContentType="application/vnd.openxmlformats-officedocument.drawingml.chart+xml"/>
  <Override PartName="/ppt/charts/chart3865.xml" ContentType="application/vnd.openxmlformats-officedocument.drawingml.chart+xml"/>
  <Override PartName="/ppt/charts/chart3866.xml" ContentType="application/vnd.openxmlformats-officedocument.drawingml.chart+xml"/>
  <Override PartName="/ppt/charts/chart3867.xml" ContentType="application/vnd.openxmlformats-officedocument.drawingml.chart+xml"/>
  <Override PartName="/ppt/charts/chart3868.xml" ContentType="application/vnd.openxmlformats-officedocument.drawingml.chart+xml"/>
  <Override PartName="/ppt/charts/chart3869.xml" ContentType="application/vnd.openxmlformats-officedocument.drawingml.chart+xml"/>
  <Override PartName="/ppt/charts/chart387.xml" ContentType="application/vnd.openxmlformats-officedocument.drawingml.chart+xml"/>
  <Override PartName="/ppt/charts/chart3870.xml" ContentType="application/vnd.openxmlformats-officedocument.drawingml.chart+xml"/>
  <Override PartName="/ppt/charts/chart3871.xml" ContentType="application/vnd.openxmlformats-officedocument.drawingml.chart+xml"/>
  <Override PartName="/ppt/charts/chart3872.xml" ContentType="application/vnd.openxmlformats-officedocument.drawingml.chart+xml"/>
  <Override PartName="/ppt/charts/chart3873.xml" ContentType="application/vnd.openxmlformats-officedocument.drawingml.chart+xml"/>
  <Override PartName="/ppt/charts/chart3874.xml" ContentType="application/vnd.openxmlformats-officedocument.drawingml.chart+xml"/>
  <Override PartName="/ppt/charts/chart3875.xml" ContentType="application/vnd.openxmlformats-officedocument.drawingml.chart+xml"/>
  <Override PartName="/ppt/charts/chart3876.xml" ContentType="application/vnd.openxmlformats-officedocument.drawingml.chart+xml"/>
  <Override PartName="/ppt/charts/chart3877.xml" ContentType="application/vnd.openxmlformats-officedocument.drawingml.chart+xml"/>
  <Override PartName="/ppt/charts/chart3878.xml" ContentType="application/vnd.openxmlformats-officedocument.drawingml.chart+xml"/>
  <Override PartName="/ppt/charts/chart3879.xml" ContentType="application/vnd.openxmlformats-officedocument.drawingml.chart+xml"/>
  <Override PartName="/ppt/charts/chart388.xml" ContentType="application/vnd.openxmlformats-officedocument.drawingml.chart+xml"/>
  <Override PartName="/ppt/charts/chart3880.xml" ContentType="application/vnd.openxmlformats-officedocument.drawingml.chart+xml"/>
  <Override PartName="/ppt/charts/chart3881.xml" ContentType="application/vnd.openxmlformats-officedocument.drawingml.chart+xml"/>
  <Override PartName="/ppt/charts/chart3882.xml" ContentType="application/vnd.openxmlformats-officedocument.drawingml.chart+xml"/>
  <Override PartName="/ppt/charts/chart3883.xml" ContentType="application/vnd.openxmlformats-officedocument.drawingml.chart+xml"/>
  <Override PartName="/ppt/charts/chart3884.xml" ContentType="application/vnd.openxmlformats-officedocument.drawingml.chart+xml"/>
  <Override PartName="/ppt/charts/chart3885.xml" ContentType="application/vnd.openxmlformats-officedocument.drawingml.chart+xml"/>
  <Override PartName="/ppt/charts/chart3886.xml" ContentType="application/vnd.openxmlformats-officedocument.drawingml.chart+xml"/>
  <Override PartName="/ppt/charts/chart3887.xml" ContentType="application/vnd.openxmlformats-officedocument.drawingml.chart+xml"/>
  <Override PartName="/ppt/charts/chart3888.xml" ContentType="application/vnd.openxmlformats-officedocument.drawingml.chart+xml"/>
  <Override PartName="/ppt/charts/chart3889.xml" ContentType="application/vnd.openxmlformats-officedocument.drawingml.chart+xml"/>
  <Override PartName="/ppt/charts/chart389.xml" ContentType="application/vnd.openxmlformats-officedocument.drawingml.chart+xml"/>
  <Override PartName="/ppt/charts/chart3890.xml" ContentType="application/vnd.openxmlformats-officedocument.drawingml.chart+xml"/>
  <Override PartName="/ppt/charts/chart3891.xml" ContentType="application/vnd.openxmlformats-officedocument.drawingml.chart+xml"/>
  <Override PartName="/ppt/charts/chart3892.xml" ContentType="application/vnd.openxmlformats-officedocument.drawingml.chart+xml"/>
  <Override PartName="/ppt/charts/chart3893.xml" ContentType="application/vnd.openxmlformats-officedocument.drawingml.chart+xml"/>
  <Override PartName="/ppt/charts/chart3894.xml" ContentType="application/vnd.openxmlformats-officedocument.drawingml.chart+xml"/>
  <Override PartName="/ppt/charts/chart3895.xml" ContentType="application/vnd.openxmlformats-officedocument.drawingml.chart+xml"/>
  <Override PartName="/ppt/charts/chart3896.xml" ContentType="application/vnd.openxmlformats-officedocument.drawingml.chart+xml"/>
  <Override PartName="/ppt/charts/chart3897.xml" ContentType="application/vnd.openxmlformats-officedocument.drawingml.chart+xml"/>
  <Override PartName="/ppt/charts/chart3898.xml" ContentType="application/vnd.openxmlformats-officedocument.drawingml.chart+xml"/>
  <Override PartName="/ppt/charts/chart389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00.xml" ContentType="application/vnd.openxmlformats-officedocument.drawingml.chart+xml"/>
  <Override PartName="/ppt/charts/chart3901.xml" ContentType="application/vnd.openxmlformats-officedocument.drawingml.chart+xml"/>
  <Override PartName="/ppt/charts/chart3902.xml" ContentType="application/vnd.openxmlformats-officedocument.drawingml.chart+xml"/>
  <Override PartName="/ppt/charts/chart3903.xml" ContentType="application/vnd.openxmlformats-officedocument.drawingml.chart+xml"/>
  <Override PartName="/ppt/charts/chart3904.xml" ContentType="application/vnd.openxmlformats-officedocument.drawingml.chart+xml"/>
  <Override PartName="/ppt/charts/chart3905.xml" ContentType="application/vnd.openxmlformats-officedocument.drawingml.chart+xml"/>
  <Override PartName="/ppt/charts/chart3906.xml" ContentType="application/vnd.openxmlformats-officedocument.drawingml.chart+xml"/>
  <Override PartName="/ppt/charts/chart3907.xml" ContentType="application/vnd.openxmlformats-officedocument.drawingml.chart+xml"/>
  <Override PartName="/ppt/charts/chart3908.xml" ContentType="application/vnd.openxmlformats-officedocument.drawingml.chart+xml"/>
  <Override PartName="/ppt/charts/chart3909.xml" ContentType="application/vnd.openxmlformats-officedocument.drawingml.chart+xml"/>
  <Override PartName="/ppt/charts/chart391.xml" ContentType="application/vnd.openxmlformats-officedocument.drawingml.chart+xml"/>
  <Override PartName="/ppt/charts/chart3910.xml" ContentType="application/vnd.openxmlformats-officedocument.drawingml.chart+xml"/>
  <Override PartName="/ppt/charts/chart3911.xml" ContentType="application/vnd.openxmlformats-officedocument.drawingml.chart+xml"/>
  <Override PartName="/ppt/charts/chart3912.xml" ContentType="application/vnd.openxmlformats-officedocument.drawingml.chart+xml"/>
  <Override PartName="/ppt/charts/chart3913.xml" ContentType="application/vnd.openxmlformats-officedocument.drawingml.chart+xml"/>
  <Override PartName="/ppt/charts/chart3914.xml" ContentType="application/vnd.openxmlformats-officedocument.drawingml.chart+xml"/>
  <Override PartName="/ppt/charts/chart3915.xml" ContentType="application/vnd.openxmlformats-officedocument.drawingml.chart+xml"/>
  <Override PartName="/ppt/charts/chart3916.xml" ContentType="application/vnd.openxmlformats-officedocument.drawingml.chart+xml"/>
  <Override PartName="/ppt/charts/chart3917.xml" ContentType="application/vnd.openxmlformats-officedocument.drawingml.chart+xml"/>
  <Override PartName="/ppt/charts/chart3918.xml" ContentType="application/vnd.openxmlformats-officedocument.drawingml.chart+xml"/>
  <Override PartName="/ppt/charts/chart3919.xml" ContentType="application/vnd.openxmlformats-officedocument.drawingml.chart+xml"/>
  <Override PartName="/ppt/charts/chart392.xml" ContentType="application/vnd.openxmlformats-officedocument.drawingml.chart+xml"/>
  <Override PartName="/ppt/charts/chart3920.xml" ContentType="application/vnd.openxmlformats-officedocument.drawingml.chart+xml"/>
  <Override PartName="/ppt/charts/chart3921.xml" ContentType="application/vnd.openxmlformats-officedocument.drawingml.chart+xml"/>
  <Override PartName="/ppt/charts/chart3922.xml" ContentType="application/vnd.openxmlformats-officedocument.drawingml.chart+xml"/>
  <Override PartName="/ppt/charts/chart3923.xml" ContentType="application/vnd.openxmlformats-officedocument.drawingml.chart+xml"/>
  <Override PartName="/ppt/charts/chart3924.xml" ContentType="application/vnd.openxmlformats-officedocument.drawingml.chart+xml"/>
  <Override PartName="/ppt/charts/chart3925.xml" ContentType="application/vnd.openxmlformats-officedocument.drawingml.chart+xml"/>
  <Override PartName="/ppt/charts/chart3926.xml" ContentType="application/vnd.openxmlformats-officedocument.drawingml.chart+xml"/>
  <Override PartName="/ppt/charts/chart3927.xml" ContentType="application/vnd.openxmlformats-officedocument.drawingml.chart+xml"/>
  <Override PartName="/ppt/charts/chart3928.xml" ContentType="application/vnd.openxmlformats-officedocument.drawingml.chart+xml"/>
  <Override PartName="/ppt/charts/chart3929.xml" ContentType="application/vnd.openxmlformats-officedocument.drawingml.chart+xml"/>
  <Override PartName="/ppt/charts/chart393.xml" ContentType="application/vnd.openxmlformats-officedocument.drawingml.chart+xml"/>
  <Override PartName="/ppt/charts/chart3930.xml" ContentType="application/vnd.openxmlformats-officedocument.drawingml.chart+xml"/>
  <Override PartName="/ppt/charts/chart3931.xml" ContentType="application/vnd.openxmlformats-officedocument.drawingml.chart+xml"/>
  <Override PartName="/ppt/charts/chart3932.xml" ContentType="application/vnd.openxmlformats-officedocument.drawingml.chart+xml"/>
  <Override PartName="/ppt/charts/chart3933.xml" ContentType="application/vnd.openxmlformats-officedocument.drawingml.chart+xml"/>
  <Override PartName="/ppt/charts/chart3934.xml" ContentType="application/vnd.openxmlformats-officedocument.drawingml.chart+xml"/>
  <Override PartName="/ppt/charts/chart3935.xml" ContentType="application/vnd.openxmlformats-officedocument.drawingml.chart+xml"/>
  <Override PartName="/ppt/charts/chart3936.xml" ContentType="application/vnd.openxmlformats-officedocument.drawingml.chart+xml"/>
  <Override PartName="/ppt/charts/chart3937.xml" ContentType="application/vnd.openxmlformats-officedocument.drawingml.chart+xml"/>
  <Override PartName="/ppt/charts/chart3938.xml" ContentType="application/vnd.openxmlformats-officedocument.drawingml.chart+xml"/>
  <Override PartName="/ppt/charts/chart3939.xml" ContentType="application/vnd.openxmlformats-officedocument.drawingml.chart+xml"/>
  <Override PartName="/ppt/charts/chart394.xml" ContentType="application/vnd.openxmlformats-officedocument.drawingml.chart+xml"/>
  <Override PartName="/ppt/charts/chart3940.xml" ContentType="application/vnd.openxmlformats-officedocument.drawingml.chart+xml"/>
  <Override PartName="/ppt/charts/chart3941.xml" ContentType="application/vnd.openxmlformats-officedocument.drawingml.chart+xml"/>
  <Override PartName="/ppt/charts/chart3942.xml" ContentType="application/vnd.openxmlformats-officedocument.drawingml.chart+xml"/>
  <Override PartName="/ppt/charts/chart3943.xml" ContentType="application/vnd.openxmlformats-officedocument.drawingml.chart+xml"/>
  <Override PartName="/ppt/charts/chart3944.xml" ContentType="application/vnd.openxmlformats-officedocument.drawingml.chart+xml"/>
  <Override PartName="/ppt/charts/chart3945.xml" ContentType="application/vnd.openxmlformats-officedocument.drawingml.chart+xml"/>
  <Override PartName="/ppt/charts/chart3946.xml" ContentType="application/vnd.openxmlformats-officedocument.drawingml.chart+xml"/>
  <Override PartName="/ppt/charts/chart3947.xml" ContentType="application/vnd.openxmlformats-officedocument.drawingml.chart+xml"/>
  <Override PartName="/ppt/charts/chart3948.xml" ContentType="application/vnd.openxmlformats-officedocument.drawingml.chart+xml"/>
  <Override PartName="/ppt/charts/chart3949.xml" ContentType="application/vnd.openxmlformats-officedocument.drawingml.chart+xml"/>
  <Override PartName="/ppt/charts/chart395.xml" ContentType="application/vnd.openxmlformats-officedocument.drawingml.chart+xml"/>
  <Override PartName="/ppt/charts/chart3950.xml" ContentType="application/vnd.openxmlformats-officedocument.drawingml.chart+xml"/>
  <Override PartName="/ppt/charts/chart3951.xml" ContentType="application/vnd.openxmlformats-officedocument.drawingml.chart+xml"/>
  <Override PartName="/ppt/charts/chart3952.xml" ContentType="application/vnd.openxmlformats-officedocument.drawingml.chart+xml"/>
  <Override PartName="/ppt/charts/chart3953.xml" ContentType="application/vnd.openxmlformats-officedocument.drawingml.chart+xml"/>
  <Override PartName="/ppt/charts/chart3954.xml" ContentType="application/vnd.openxmlformats-officedocument.drawingml.chart+xml"/>
  <Override PartName="/ppt/charts/chart3955.xml" ContentType="application/vnd.openxmlformats-officedocument.drawingml.chart+xml"/>
  <Override PartName="/ppt/charts/chart3956.xml" ContentType="application/vnd.openxmlformats-officedocument.drawingml.chart+xml"/>
  <Override PartName="/ppt/charts/chart3957.xml" ContentType="application/vnd.openxmlformats-officedocument.drawingml.chart+xml"/>
  <Override PartName="/ppt/charts/chart3958.xml" ContentType="application/vnd.openxmlformats-officedocument.drawingml.chart+xml"/>
  <Override PartName="/ppt/charts/chart3959.xml" ContentType="application/vnd.openxmlformats-officedocument.drawingml.chart+xml"/>
  <Override PartName="/ppt/charts/chart396.xml" ContentType="application/vnd.openxmlformats-officedocument.drawingml.chart+xml"/>
  <Override PartName="/ppt/charts/chart3960.xml" ContentType="application/vnd.openxmlformats-officedocument.drawingml.chart+xml"/>
  <Override PartName="/ppt/charts/chart3961.xml" ContentType="application/vnd.openxmlformats-officedocument.drawingml.chart+xml"/>
  <Override PartName="/ppt/charts/chart3962.xml" ContentType="application/vnd.openxmlformats-officedocument.drawingml.chart+xml"/>
  <Override PartName="/ppt/charts/chart3963.xml" ContentType="application/vnd.openxmlformats-officedocument.drawingml.chart+xml"/>
  <Override PartName="/ppt/charts/chart3964.xml" ContentType="application/vnd.openxmlformats-officedocument.drawingml.chart+xml"/>
  <Override PartName="/ppt/charts/chart3965.xml" ContentType="application/vnd.openxmlformats-officedocument.drawingml.chart+xml"/>
  <Override PartName="/ppt/charts/chart3966.xml" ContentType="application/vnd.openxmlformats-officedocument.drawingml.chart+xml"/>
  <Override PartName="/ppt/charts/chart3967.xml" ContentType="application/vnd.openxmlformats-officedocument.drawingml.chart+xml"/>
  <Override PartName="/ppt/charts/chart3968.xml" ContentType="application/vnd.openxmlformats-officedocument.drawingml.chart+xml"/>
  <Override PartName="/ppt/charts/chart3969.xml" ContentType="application/vnd.openxmlformats-officedocument.drawingml.chart+xml"/>
  <Override PartName="/ppt/charts/chart397.xml" ContentType="application/vnd.openxmlformats-officedocument.drawingml.chart+xml"/>
  <Override PartName="/ppt/charts/chart3970.xml" ContentType="application/vnd.openxmlformats-officedocument.drawingml.chart+xml"/>
  <Override PartName="/ppt/charts/chart3971.xml" ContentType="application/vnd.openxmlformats-officedocument.drawingml.chart+xml"/>
  <Override PartName="/ppt/charts/chart3972.xml" ContentType="application/vnd.openxmlformats-officedocument.drawingml.chart+xml"/>
  <Override PartName="/ppt/charts/chart3973.xml" ContentType="application/vnd.openxmlformats-officedocument.drawingml.chart+xml"/>
  <Override PartName="/ppt/charts/chart3974.xml" ContentType="application/vnd.openxmlformats-officedocument.drawingml.chart+xml"/>
  <Override PartName="/ppt/charts/chart3975.xml" ContentType="application/vnd.openxmlformats-officedocument.drawingml.chart+xml"/>
  <Override PartName="/ppt/charts/chart3976.xml" ContentType="application/vnd.openxmlformats-officedocument.drawingml.chart+xml"/>
  <Override PartName="/ppt/charts/chart3977.xml" ContentType="application/vnd.openxmlformats-officedocument.drawingml.chart+xml"/>
  <Override PartName="/ppt/charts/chart3978.xml" ContentType="application/vnd.openxmlformats-officedocument.drawingml.chart+xml"/>
  <Override PartName="/ppt/charts/chart3979.xml" ContentType="application/vnd.openxmlformats-officedocument.drawingml.chart+xml"/>
  <Override PartName="/ppt/charts/chart398.xml" ContentType="application/vnd.openxmlformats-officedocument.drawingml.chart+xml"/>
  <Override PartName="/ppt/charts/chart3980.xml" ContentType="application/vnd.openxmlformats-officedocument.drawingml.chart+xml"/>
  <Override PartName="/ppt/charts/chart3981.xml" ContentType="application/vnd.openxmlformats-officedocument.drawingml.chart+xml"/>
  <Override PartName="/ppt/charts/chart3982.xml" ContentType="application/vnd.openxmlformats-officedocument.drawingml.chart+xml"/>
  <Override PartName="/ppt/charts/chart3983.xml" ContentType="application/vnd.openxmlformats-officedocument.drawingml.chart+xml"/>
  <Override PartName="/ppt/charts/chart3984.xml" ContentType="application/vnd.openxmlformats-officedocument.drawingml.chart+xml"/>
  <Override PartName="/ppt/charts/chart3985.xml" ContentType="application/vnd.openxmlformats-officedocument.drawingml.chart+xml"/>
  <Override PartName="/ppt/charts/chart3986.xml" ContentType="application/vnd.openxmlformats-officedocument.drawingml.chart+xml"/>
  <Override PartName="/ppt/charts/chart3987.xml" ContentType="application/vnd.openxmlformats-officedocument.drawingml.chart+xml"/>
  <Override PartName="/ppt/charts/chart3988.xml" ContentType="application/vnd.openxmlformats-officedocument.drawingml.chart+xml"/>
  <Override PartName="/ppt/charts/chart3989.xml" ContentType="application/vnd.openxmlformats-officedocument.drawingml.chart+xml"/>
  <Override PartName="/ppt/charts/chart399.xml" ContentType="application/vnd.openxmlformats-officedocument.drawingml.chart+xml"/>
  <Override PartName="/ppt/charts/chart3990.xml" ContentType="application/vnd.openxmlformats-officedocument.drawingml.chart+xml"/>
  <Override PartName="/ppt/charts/chart3991.xml" ContentType="application/vnd.openxmlformats-officedocument.drawingml.chart+xml"/>
  <Override PartName="/ppt/charts/chart3992.xml" ContentType="application/vnd.openxmlformats-officedocument.drawingml.chart+xml"/>
  <Override PartName="/ppt/charts/chart3993.xml" ContentType="application/vnd.openxmlformats-officedocument.drawingml.chart+xml"/>
  <Override PartName="/ppt/charts/chart3994.xml" ContentType="application/vnd.openxmlformats-officedocument.drawingml.chart+xml"/>
  <Override PartName="/ppt/charts/chart3995.xml" ContentType="application/vnd.openxmlformats-officedocument.drawingml.chart+xml"/>
  <Override PartName="/ppt/charts/chart3996.xml" ContentType="application/vnd.openxmlformats-officedocument.drawingml.chart+xml"/>
  <Override PartName="/ppt/charts/chart3997.xml" ContentType="application/vnd.openxmlformats-officedocument.drawingml.chart+xml"/>
  <Override PartName="/ppt/charts/chart3998.xml" ContentType="application/vnd.openxmlformats-officedocument.drawingml.chart+xml"/>
  <Override PartName="/ppt/charts/chart39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00.xml" ContentType="application/vnd.openxmlformats-officedocument.drawingml.chart+xml"/>
  <Override PartName="/ppt/charts/chart4001.xml" ContentType="application/vnd.openxmlformats-officedocument.drawingml.chart+xml"/>
  <Override PartName="/ppt/charts/chart4002.xml" ContentType="application/vnd.openxmlformats-officedocument.drawingml.chart+xml"/>
  <Override PartName="/ppt/charts/chart4003.xml" ContentType="application/vnd.openxmlformats-officedocument.drawingml.chart+xml"/>
  <Override PartName="/ppt/charts/chart4004.xml" ContentType="application/vnd.openxmlformats-officedocument.drawingml.chart+xml"/>
  <Override PartName="/ppt/charts/chart4005.xml" ContentType="application/vnd.openxmlformats-officedocument.drawingml.chart+xml"/>
  <Override PartName="/ppt/charts/chart4006.xml" ContentType="application/vnd.openxmlformats-officedocument.drawingml.chart+xml"/>
  <Override PartName="/ppt/charts/chart4007.xml" ContentType="application/vnd.openxmlformats-officedocument.drawingml.chart+xml"/>
  <Override PartName="/ppt/charts/chart4008.xml" ContentType="application/vnd.openxmlformats-officedocument.drawingml.chart+xml"/>
  <Override PartName="/ppt/charts/chart4009.xml" ContentType="application/vnd.openxmlformats-officedocument.drawingml.chart+xml"/>
  <Override PartName="/ppt/charts/chart401.xml" ContentType="application/vnd.openxmlformats-officedocument.drawingml.chart+xml"/>
  <Override PartName="/ppt/charts/chart4010.xml" ContentType="application/vnd.openxmlformats-officedocument.drawingml.chart+xml"/>
  <Override PartName="/ppt/charts/chart4011.xml" ContentType="application/vnd.openxmlformats-officedocument.drawingml.chart+xml"/>
  <Override PartName="/ppt/charts/chart4012.xml" ContentType="application/vnd.openxmlformats-officedocument.drawingml.chart+xml"/>
  <Override PartName="/ppt/charts/chart4013.xml" ContentType="application/vnd.openxmlformats-officedocument.drawingml.chart+xml"/>
  <Override PartName="/ppt/charts/chart4014.xml" ContentType="application/vnd.openxmlformats-officedocument.drawingml.chart+xml"/>
  <Override PartName="/ppt/charts/chart4015.xml" ContentType="application/vnd.openxmlformats-officedocument.drawingml.chart+xml"/>
  <Override PartName="/ppt/charts/chart4016.xml" ContentType="application/vnd.openxmlformats-officedocument.drawingml.chart+xml"/>
  <Override PartName="/ppt/charts/chart4017.xml" ContentType="application/vnd.openxmlformats-officedocument.drawingml.chart+xml"/>
  <Override PartName="/ppt/charts/chart4018.xml" ContentType="application/vnd.openxmlformats-officedocument.drawingml.chart+xml"/>
  <Override PartName="/ppt/charts/chart4019.xml" ContentType="application/vnd.openxmlformats-officedocument.drawingml.chart+xml"/>
  <Override PartName="/ppt/charts/chart402.xml" ContentType="application/vnd.openxmlformats-officedocument.drawingml.chart+xml"/>
  <Override PartName="/ppt/charts/chart4020.xml" ContentType="application/vnd.openxmlformats-officedocument.drawingml.chart+xml"/>
  <Override PartName="/ppt/charts/chart4021.xml" ContentType="application/vnd.openxmlformats-officedocument.drawingml.chart+xml"/>
  <Override PartName="/ppt/charts/chart4022.xml" ContentType="application/vnd.openxmlformats-officedocument.drawingml.chart+xml"/>
  <Override PartName="/ppt/charts/chart4023.xml" ContentType="application/vnd.openxmlformats-officedocument.drawingml.chart+xml"/>
  <Override PartName="/ppt/charts/chart4024.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01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 id="2147476528" r:id="rId1363"/>
    <p:sldId id="2147476529" r:id="rId1364"/>
    <p:sldId id="2147476530" r:id="rId1365"/>
    <p:sldId id="2147476531" r:id="rId1366"/>
    <p:sldId id="2147476532" r:id="rId1367"/>
    <p:sldId id="2147476533" r:id="rId1368"/>
    <p:sldId id="2147476534" r:id="rId1369"/>
    <p:sldId id="2147476535" r:id="rId1370"/>
    <p:sldId id="2147476536" r:id="rId1371"/>
    <p:sldId id="2147476537" r:id="rId1372"/>
    <p:sldId id="2147476538" r:id="rId1373"/>
    <p:sldId id="2147476539" r:id="rId1374"/>
    <p:sldId id="2147476540" r:id="rId1375"/>
    <p:sldId id="2147476541" r:id="rId1376"/>
    <p:sldId id="2147476542" r:id="rId1377"/>
    <p:sldId id="2147476543" r:id="rId1378"/>
    <p:sldId id="2147476544" r:id="rId1379"/>
    <p:sldId id="2147476545" r:id="rId1380"/>
    <p:sldId id="2147476546" r:id="rId1381"/>
    <p:sldId id="2147476547" r:id="rId1382"/>
    <p:sldId id="2147476548" r:id="rId1383"/>
    <p:sldId id="2147476549" r:id="rId1384"/>
    <p:sldId id="2147476550" r:id="rId1385"/>
    <p:sldId id="2147476551" r:id="rId1386"/>
    <p:sldId id="2147476552" r:id="rId1387"/>
    <p:sldId id="2147476553" r:id="rId1388"/>
    <p:sldId id="2147476554" r:id="rId1389"/>
    <p:sldId id="2147476555" r:id="rId1390"/>
    <p:sldId id="2147476556" r:id="rId1391"/>
    <p:sldId id="2147476557" r:id="rId1392"/>
    <p:sldId id="2147476558" r:id="rId1393"/>
    <p:sldId id="2147476559" r:id="rId1394"/>
    <p:sldId id="2147476560" r:id="rId1395"/>
    <p:sldId id="2147476561" r:id="rId1396"/>
    <p:sldId id="2147476562" r:id="rId1397"/>
    <p:sldId id="2147476563" r:id="rId1398"/>
    <p:sldId id="2147476564" r:id="rId1399"/>
    <p:sldId id="2147476565" r:id="rId1400"/>
    <p:sldId id="2147476566" r:id="rId1401"/>
    <p:sldId id="2147476567" r:id="rId1402"/>
    <p:sldId id="2147476568" r:id="rId1403"/>
    <p:sldId id="2147476569" r:id="rId1404"/>
    <p:sldId id="2147476570" r:id="rId1405"/>
    <p:sldId id="2147476571" r:id="rId1406"/>
    <p:sldId id="2147476572" r:id="rId1407"/>
    <p:sldId id="2147476573" r:id="rId1408"/>
    <p:sldId id="2147476574" r:id="rId1409"/>
    <p:sldId id="2147476575" r:id="rId1410"/>
    <p:sldId id="2147476576" r:id="rId1411"/>
    <p:sldId id="2147476577" r:id="rId1412"/>
    <p:sldId id="2147476578" r:id="rId1413"/>
    <p:sldId id="2147476579" r:id="rId1414"/>
    <p:sldId id="2147476580" r:id="rId1415"/>
    <p:sldId id="2147476581" r:id="rId1416"/>
    <p:sldId id="2147476582" r:id="rId1417"/>
    <p:sldId id="2147476583" r:id="rId1418"/>
    <p:sldId id="2147476584" r:id="rId1419"/>
    <p:sldId id="2147476585" r:id="rId1420"/>
    <p:sldId id="2147476586" r:id="rId1421"/>
    <p:sldId id="2147476587" r:id="rId1422"/>
    <p:sldId id="2147476588" r:id="rId1423"/>
    <p:sldId id="2147476589" r:id="rId1424"/>
    <p:sldId id="2147476590" r:id="rId1425"/>
    <p:sldId id="2147476591" r:id="rId1426"/>
    <p:sldId id="2147476592" r:id="rId1427"/>
    <p:sldId id="2147476593" r:id="rId1428"/>
    <p:sldId id="2147476594" r:id="rId1429"/>
    <p:sldId id="2147476595" r:id="rId1430"/>
    <p:sldId id="2147476596" r:id="rId1431"/>
    <p:sldId id="2147476597" r:id="rId1432"/>
    <p:sldId id="2147476598" r:id="rId1433"/>
    <p:sldId id="2147476599" r:id="rId1434"/>
    <p:sldId id="2147476600" r:id="rId1435"/>
    <p:sldId id="2147476601" r:id="rId1436"/>
    <p:sldId id="2147476602" r:id="rId1437"/>
    <p:sldId id="2147476603" r:id="rId1438"/>
    <p:sldId id="2147476604" r:id="rId1439"/>
    <p:sldId id="2147476605" r:id="rId1440"/>
    <p:sldId id="2147476606" r:id="rId1441"/>
    <p:sldId id="2147476607" r:id="rId1442"/>
    <p:sldId id="2147476608" r:id="rId1443"/>
    <p:sldId id="2147476609" r:id="rId1444"/>
    <p:sldId id="2147476610" r:id="rId1445"/>
    <p:sldId id="2147476611" r:id="rId1446"/>
    <p:sldId id="2147476612" r:id="rId1447"/>
    <p:sldId id="2147476613" r:id="rId1448"/>
    <p:sldId id="2147476614" r:id="rId1449"/>
    <p:sldId id="2147476615" r:id="rId1450"/>
    <p:sldId id="2147476616" r:id="rId1451"/>
    <p:sldId id="2147476617" r:id="rId1452"/>
    <p:sldId id="2147476618" r:id="rId1453"/>
    <p:sldId id="2147476619" r:id="rId1454"/>
    <p:sldId id="2147476620" r:id="rId1455"/>
    <p:sldId id="2147476621" r:id="rId1456"/>
    <p:sldId id="2147476622" r:id="rId1457"/>
    <p:sldId id="2147476623" r:id="rId1458"/>
    <p:sldId id="2147476624" r:id="rId1459"/>
    <p:sldId id="2147476625" r:id="rId1460"/>
    <p:sldId id="2147476626" r:id="rId1461"/>
    <p:sldId id="2147476627" r:id="rId1462"/>
    <p:sldId id="2147476628" r:id="rId1463"/>
    <p:sldId id="2147476629" r:id="rId1464"/>
    <p:sldId id="2147476630" r:id="rId1465"/>
    <p:sldId id="2147476631" r:id="rId1466"/>
    <p:sldId id="2147476632" r:id="rId1467"/>
    <p:sldId id="2147476633" r:id="rId1468"/>
    <p:sldId id="2147476634" r:id="rId1469"/>
    <p:sldId id="2147476635" r:id="rId1470"/>
    <p:sldId id="2147476636" r:id="rId1471"/>
    <p:sldId id="2147476637" r:id="rId1472"/>
    <p:sldId id="2147476638" r:id="rId1473"/>
    <p:sldId id="2147476639" r:id="rId1474"/>
    <p:sldId id="2147476640" r:id="rId1475"/>
    <p:sldId id="2147476641" r:id="rId1476"/>
    <p:sldId id="2147476642" r:id="rId1477"/>
    <p:sldId id="2147476643" r:id="rId1478"/>
    <p:sldId id="2147476644" r:id="rId1479"/>
    <p:sldId id="2147476645" r:id="rId1480"/>
    <p:sldId id="2147476646" r:id="rId1481"/>
    <p:sldId id="2147476647" r:id="rId1482"/>
    <p:sldId id="2147476648" r:id="rId1483"/>
    <p:sldId id="2147476649" r:id="rId1484"/>
    <p:sldId id="2147476650" r:id="rId1485"/>
    <p:sldId id="2147476651" r:id="rId1486"/>
    <p:sldId id="2147476652" r:id="rId1487"/>
    <p:sldId id="2147476653" r:id="rId1488"/>
    <p:sldId id="2147476654" r:id="rId1489"/>
    <p:sldId id="2147476655" r:id="rId1490"/>
    <p:sldId id="2147476656" r:id="rId1491"/>
    <p:sldId id="2147476657" r:id="rId1492"/>
    <p:sldId id="2147476658" r:id="rId1493"/>
    <p:sldId id="2147476659" r:id="rId1494"/>
    <p:sldId id="2147476660" r:id="rId1495"/>
    <p:sldId id="2147476661" r:id="rId1496"/>
    <p:sldId id="2147476662" r:id="rId1497"/>
    <p:sldId id="2147476663" r:id="rId1498"/>
    <p:sldId id="2147476664" r:id="rId1499"/>
    <p:sldId id="2147476665" r:id="rId1500"/>
    <p:sldId id="2147476666" r:id="rId1501"/>
    <p:sldId id="2147476667" r:id="rId1502"/>
    <p:sldId id="2147476668" r:id="rId1503"/>
    <p:sldId id="2147476669" r:id="rId1504"/>
    <p:sldId id="2147476670" r:id="rId1505"/>
    <p:sldId id="2147476671" r:id="rId1506"/>
    <p:sldId id="2147476672" r:id="rId1507"/>
    <p:sldId id="2147476673" r:id="rId1508"/>
    <p:sldId id="2147476674" r:id="rId1509"/>
    <p:sldId id="2147476675" r:id="rId1510"/>
    <p:sldId id="2147476676" r:id="rId1511"/>
    <p:sldId id="2147476677" r:id="rId1512"/>
    <p:sldId id="2147476678" r:id="rId1513"/>
    <p:sldId id="2147476679" r:id="rId1514"/>
    <p:sldId id="2147476680" r:id="rId1515"/>
    <p:sldId id="2147476681" r:id="rId1516"/>
    <p:sldId id="2147476682" r:id="rId1517"/>
    <p:sldId id="2147476683" r:id="rId1518"/>
    <p:sldId id="2147476684" r:id="rId1519"/>
    <p:sldId id="2147476685" r:id="rId1520"/>
    <p:sldId id="2147476686" r:id="rId1521"/>
    <p:sldId id="2147476687" r:id="rId1522"/>
    <p:sldId id="2147476688" r:id="rId1523"/>
    <p:sldId id="2147476689" r:id="rId1524"/>
    <p:sldId id="2147476690" r:id="rId1525"/>
    <p:sldId id="2147476691" r:id="rId1526"/>
    <p:sldId id="2147476692" r:id="rId1527"/>
    <p:sldId id="2147476693" r:id="rId1528"/>
    <p:sldId id="2147476694" r:id="rId1529"/>
    <p:sldId id="2147476695" r:id="rId1530"/>
    <p:sldId id="2147476696" r:id="rId1531"/>
    <p:sldId id="2147476697" r:id="rId1532"/>
    <p:sldId id="2147476698" r:id="rId1533"/>
    <p:sldId id="2147476699" r:id="rId1534"/>
    <p:sldId id="2147476700" r:id="rId1535"/>
    <p:sldId id="2147476701" r:id="rId1536"/>
    <p:sldId id="2147476702" r:id="rId1537"/>
    <p:sldId id="2147476703" r:id="rId1538"/>
    <p:sldId id="2147476704" r:id="rId1539"/>
    <p:sldId id="2147476705" r:id="rId1540"/>
    <p:sldId id="2147476706" r:id="rId1541"/>
    <p:sldId id="2147476707" r:id="rId1542"/>
    <p:sldId id="2147476708" r:id="rId1543"/>
    <p:sldId id="2147476709" r:id="rId1544"/>
    <p:sldId id="2147476710" r:id="rId1545"/>
    <p:sldId id="2147476711" r:id="rId1546"/>
    <p:sldId id="2147476712" r:id="rId1547"/>
    <p:sldId id="2147476713" r:id="rId1548"/>
    <p:sldId id="2147476714" r:id="rId1549"/>
    <p:sldId id="2147476715" r:id="rId1550"/>
    <p:sldId id="2147476716" r:id="rId1551"/>
    <p:sldId id="2147476717" r:id="rId1552"/>
    <p:sldId id="2147476718" r:id="rId1553"/>
    <p:sldId id="2147476719" r:id="rId1554"/>
    <p:sldId id="2147476720" r:id="rId1555"/>
    <p:sldId id="2147476721" r:id="rId1556"/>
    <p:sldId id="2147476722" r:id="rId1557"/>
    <p:sldId id="2147476723" r:id="rId1558"/>
    <p:sldId id="2147476724" r:id="rId1559"/>
    <p:sldId id="2147476725" r:id="rId1560"/>
    <p:sldId id="2147476726" r:id="rId1561"/>
    <p:sldId id="2147476727" r:id="rId1562"/>
    <p:sldId id="2147476728" r:id="rId1563"/>
    <p:sldId id="2147476729" r:id="rId1564"/>
    <p:sldId id="2147476730" r:id="rId1565"/>
    <p:sldId id="2147476731" r:id="rId1566"/>
    <p:sldId id="2147476732" r:id="rId1567"/>
    <p:sldId id="2147476733" r:id="rId1568"/>
    <p:sldId id="2147476734" r:id="rId1569"/>
    <p:sldId id="2147476735" r:id="rId1570"/>
    <p:sldId id="2147476736" r:id="rId1571"/>
    <p:sldId id="2147476737" r:id="rId1572"/>
    <p:sldId id="2147476738" r:id="rId1573"/>
    <p:sldId id="2147476739" r:id="rId1574"/>
    <p:sldId id="2147476740" r:id="rId1575"/>
    <p:sldId id="2147476741" r:id="rId1576"/>
    <p:sldId id="2147476742" r:id="rId1577"/>
    <p:sldId id="2147476743" r:id="rId1578"/>
    <p:sldId id="2147476744" r:id="rId1579"/>
    <p:sldId id="2147476745" r:id="rId1580"/>
    <p:sldId id="2147476746" r:id="rId1581"/>
    <p:sldId id="2147476747" r:id="rId1582"/>
    <p:sldId id="2147476748" r:id="rId1583"/>
    <p:sldId id="2147476749" r:id="rId1584"/>
    <p:sldId id="2147476750" r:id="rId1585"/>
    <p:sldId id="2147476751" r:id="rId1586"/>
    <p:sldId id="2147476752" r:id="rId1587"/>
    <p:sldId id="2147476753" r:id="rId1588"/>
    <p:sldId id="2147476754" r:id="rId1589"/>
    <p:sldId id="2147476755" r:id="rId1590"/>
    <p:sldId id="2147476756" r:id="rId1591"/>
    <p:sldId id="2147476757" r:id="rId1592"/>
    <p:sldId id="2147476758" r:id="rId1593"/>
    <p:sldId id="2147476759" r:id="rId1594"/>
    <p:sldId id="2147476760" r:id="rId1595"/>
    <p:sldId id="2147476761" r:id="rId1596"/>
    <p:sldId id="2147476762" r:id="rId1597"/>
    <p:sldId id="2147476763" r:id="rId1598"/>
    <p:sldId id="2147476764" r:id="rId1599"/>
    <p:sldId id="2147476765" r:id="rId1600"/>
    <p:sldId id="2147476766" r:id="rId1601"/>
    <p:sldId id="2147476767" r:id="rId1602"/>
    <p:sldId id="2147476768" r:id="rId1603"/>
    <p:sldId id="2147476769" r:id="rId1604"/>
    <p:sldId id="2147476770" r:id="rId1605"/>
    <p:sldId id="2147476771" r:id="rId1606"/>
    <p:sldId id="2147476772" r:id="rId1607"/>
    <p:sldId id="2147476773" r:id="rId1608"/>
    <p:sldId id="2147476774" r:id="rId1609"/>
    <p:sldId id="2147476775" r:id="rId1610"/>
    <p:sldId id="2147476776" r:id="rId1611"/>
    <p:sldId id="2147476777" r:id="rId1612"/>
    <p:sldId id="2147476778" r:id="rId1613"/>
    <p:sldId id="2147476779" r:id="rId1614"/>
    <p:sldId id="2147476780" r:id="rId1615"/>
    <p:sldId id="2147476781" r:id="rId1616"/>
    <p:sldId id="2147476782" r:id="rId1617"/>
    <p:sldId id="2147476783" r:id="rId1618"/>
    <p:sldId id="2147476784" r:id="rId1619"/>
    <p:sldId id="2147476785" r:id="rId1620"/>
    <p:sldId id="2147476786" r:id="rId1621"/>
    <p:sldId id="2147476787" r:id="rId1622"/>
    <p:sldId id="2147476788" r:id="rId1623"/>
    <p:sldId id="2147476789" r:id="rId1624"/>
    <p:sldId id="2147476790" r:id="rId1625"/>
    <p:sldId id="2147476791" r:id="rId1626"/>
    <p:sldId id="2147476792" r:id="rId1627"/>
    <p:sldId id="2147476793" r:id="rId1628"/>
    <p:sldId id="2147476794" r:id="rId1629"/>
    <p:sldId id="2147476795" r:id="rId1630"/>
    <p:sldId id="2147476796" r:id="rId1631"/>
    <p:sldId id="2147476797" r:id="rId1632"/>
    <p:sldId id="2147476798" r:id="rId1633"/>
    <p:sldId id="2147476799" r:id="rId1634"/>
    <p:sldId id="2147476800" r:id="rId1635"/>
    <p:sldId id="2147476801" r:id="rId1636"/>
    <p:sldId id="2147476802" r:id="rId1637"/>
    <p:sldId id="2147476803" r:id="rId1638"/>
    <p:sldId id="2147476804" r:id="rId1639"/>
    <p:sldId id="2147476805" r:id="rId1640"/>
    <p:sldId id="2147476806" r:id="rId1641"/>
    <p:sldId id="2147476807" r:id="rId1642"/>
    <p:sldId id="2147476808" r:id="rId1643"/>
    <p:sldId id="2147476809" r:id="rId1644"/>
    <p:sldId id="2147476810" r:id="rId1645"/>
    <p:sldId id="2147476811" r:id="rId1646"/>
    <p:sldId id="2147476812" r:id="rId1647"/>
    <p:sldId id="2147476813" r:id="rId1648"/>
    <p:sldId id="2147476814" r:id="rId1649"/>
    <p:sldId id="2147476815" r:id="rId1650"/>
    <p:sldId id="2147476816" r:id="rId1651"/>
    <p:sldId id="2147476817" r:id="rId1652"/>
    <p:sldId id="2147476818" r:id="rId1653"/>
    <p:sldId id="2147476819" r:id="rId1654"/>
    <p:sldId id="2147476820" r:id="rId1655"/>
    <p:sldId id="2147476821" r:id="rId1656"/>
    <p:sldId id="2147476822" r:id="rId1657"/>
    <p:sldId id="2147476823" r:id="rId1658"/>
    <p:sldId id="2147476824" r:id="rId1659"/>
    <p:sldId id="2147476825" r:id="rId1660"/>
    <p:sldId id="2147476826" r:id="rId1661"/>
    <p:sldId id="2147476827" r:id="rId1662"/>
    <p:sldId id="2147476828" r:id="rId1663"/>
    <p:sldId id="2147476829" r:id="rId1664"/>
    <p:sldId id="2147476830" r:id="rId1665"/>
    <p:sldId id="2147476831" r:id="rId1666"/>
    <p:sldId id="2147476832" r:id="rId1667"/>
    <p:sldId id="2147476833" r:id="rId1668"/>
    <p:sldId id="2147476834" r:id="rId1669"/>
    <p:sldId id="2147476835" r:id="rId1670"/>
    <p:sldId id="2147476836" r:id="rId1671"/>
    <p:sldId id="2147476837" r:id="rId1672"/>
    <p:sldId id="2147476838" r:id="rId1673"/>
    <p:sldId id="2147476839" r:id="rId1674"/>
    <p:sldId id="2147476840" r:id="rId1675"/>
    <p:sldId id="2147476841" r:id="rId1676"/>
    <p:sldId id="2147476842" r:id="rId1677"/>
    <p:sldId id="2147476843" r:id="rId1678"/>
    <p:sldId id="2147476844" r:id="rId1679"/>
    <p:sldId id="2147476845" r:id="rId1680"/>
    <p:sldId id="2147476846" r:id="rId1681"/>
    <p:sldId id="2147476847" r:id="rId1682"/>
    <p:sldId id="2147476848" r:id="rId1683"/>
    <p:sldId id="2147476849" r:id="rId1684"/>
    <p:sldId id="2147476850" r:id="rId1685"/>
    <p:sldId id="2147476851" r:id="rId1686"/>
    <p:sldId id="2147476852" r:id="rId1687"/>
    <p:sldId id="2147476853" r:id="rId1688"/>
    <p:sldId id="2147476854" r:id="rId1689"/>
    <p:sldId id="2147476855" r:id="rId1690"/>
    <p:sldId id="2147476856" r:id="rId1691"/>
    <p:sldId id="2147476857" r:id="rId1692"/>
    <p:sldId id="2147476858" r:id="rId1693"/>
    <p:sldId id="2147476859" r:id="rId1694"/>
    <p:sldId id="2147476860" r:id="rId1695"/>
    <p:sldId id="2147476861" r:id="rId1696"/>
    <p:sldId id="2147476862" r:id="rId1697"/>
    <p:sldId id="2147476863" r:id="rId1698"/>
    <p:sldId id="2147476864" r:id="rId1699"/>
    <p:sldId id="2147476865" r:id="rId1700"/>
    <p:sldId id="2147476866" r:id="rId1701"/>
    <p:sldId id="2147476867" r:id="rId1702"/>
    <p:sldId id="2147476868" r:id="rId1703"/>
    <p:sldId id="2147476869" r:id="rId1704"/>
    <p:sldId id="2147476870" r:id="rId1705"/>
    <p:sldId id="2147476871" r:id="rId1706"/>
    <p:sldId id="2147476872" r:id="rId1707"/>
    <p:sldId id="2147476873" r:id="rId1708"/>
    <p:sldId id="2147476874" r:id="rId1709"/>
    <p:sldId id="2147476875" r:id="rId1710"/>
    <p:sldId id="2147476876" r:id="rId1711"/>
    <p:sldId id="2147476877" r:id="rId1712"/>
    <p:sldId id="2147476878" r:id="rId1713"/>
    <p:sldId id="2147476879" r:id="rId1714"/>
    <p:sldId id="2147476880" r:id="rId1715"/>
    <p:sldId id="2147476881" r:id="rId1716"/>
    <p:sldId id="2147476882" r:id="rId1717"/>
    <p:sldId id="2147476883" r:id="rId1718"/>
    <p:sldId id="2147476884" r:id="rId1719"/>
    <p:sldId id="2147476885" r:id="rId1720"/>
    <p:sldId id="2147476886" r:id="rId1721"/>
    <p:sldId id="2147476887" r:id="rId1722"/>
    <p:sldId id="2147476888" r:id="rId1723"/>
    <p:sldId id="2147476889" r:id="rId1724"/>
    <p:sldId id="2147476890" r:id="rId1725"/>
    <p:sldId id="2147476891" r:id="rId1726"/>
    <p:sldId id="2147476892" r:id="rId1727"/>
    <p:sldId id="2147476893" r:id="rId1728"/>
    <p:sldId id="2147476894" r:id="rId1729"/>
    <p:sldId id="2147476895" r:id="rId1730"/>
    <p:sldId id="2147476896" r:id="rId1731"/>
    <p:sldId id="2147476897" r:id="rId1732"/>
    <p:sldId id="2147476898" r:id="rId1733"/>
    <p:sldId id="2147476899" r:id="rId1734"/>
    <p:sldId id="2147476900" r:id="rId1735"/>
    <p:sldId id="2147476901" r:id="rId1736"/>
    <p:sldId id="2147476902" r:id="rId1737"/>
    <p:sldId id="2147476903" r:id="rId1738"/>
    <p:sldId id="2147476904" r:id="rId1739"/>
    <p:sldId id="2147476905" r:id="rId1740"/>
    <p:sldId id="2147476906" r:id="rId1741"/>
    <p:sldId id="2147476907" r:id="rId1742"/>
    <p:sldId id="2147476908" r:id="rId1743"/>
    <p:sldId id="2147476909" r:id="rId1744"/>
    <p:sldId id="2147476910" r:id="rId1745"/>
    <p:sldId id="2147476911" r:id="rId1746"/>
    <p:sldId id="2147476912" r:id="rId1747"/>
    <p:sldId id="2147476913" r:id="rId1748"/>
    <p:sldId id="2147476914" r:id="rId1749"/>
    <p:sldId id="2147476915" r:id="rId1750"/>
    <p:sldId id="2147476916" r:id="rId1751"/>
    <p:sldId id="2147476917" r:id="rId1752"/>
    <p:sldId id="2147476918" r:id="rId1753"/>
    <p:sldId id="2147476919" r:id="rId1754"/>
    <p:sldId id="2147476920" r:id="rId1755"/>
    <p:sldId id="2147476921" r:id="rId1756"/>
    <p:sldId id="2147476922" r:id="rId1757"/>
    <p:sldId id="2147476923" r:id="rId1758"/>
    <p:sldId id="2147476924" r:id="rId1759"/>
    <p:sldId id="2147476925" r:id="rId1760"/>
    <p:sldId id="2147476926" r:id="rId1761"/>
    <p:sldId id="2147476927" r:id="rId1762"/>
    <p:sldId id="2147476928" r:id="rId1763"/>
    <p:sldId id="2147476929" r:id="rId1764"/>
    <p:sldId id="2147476930" r:id="rId1765"/>
    <p:sldId id="2147476931" r:id="rId1766"/>
    <p:sldId id="2147476932" r:id="rId1767"/>
    <p:sldId id="2147476933" r:id="rId1768"/>
    <p:sldId id="2147476934" r:id="rId1769"/>
    <p:sldId id="2147476935" r:id="rId1770"/>
    <p:sldId id="2147476936" r:id="rId1771"/>
    <p:sldId id="2147476937" r:id="rId1772"/>
    <p:sldId id="2147476938" r:id="rId1773"/>
    <p:sldId id="2147476939" r:id="rId1774"/>
    <p:sldId id="2147476940" r:id="rId1775"/>
    <p:sldId id="2147476941" r:id="rId1776"/>
    <p:sldId id="2147476942" r:id="rId1777"/>
    <p:sldId id="2147476943" r:id="rId1778"/>
    <p:sldId id="2147476944" r:id="rId1779"/>
    <p:sldId id="2147476945" r:id="rId1780"/>
    <p:sldId id="2147476946" r:id="rId1781"/>
    <p:sldId id="2147476947" r:id="rId1782"/>
    <p:sldId id="2147476948" r:id="rId1783"/>
    <p:sldId id="2147476949" r:id="rId1784"/>
    <p:sldId id="2147476950" r:id="rId1785"/>
    <p:sldId id="2147476951" r:id="rId1786"/>
    <p:sldId id="2147476952" r:id="rId1787"/>
    <p:sldId id="2147476953" r:id="rId1788"/>
    <p:sldId id="2147476954" r:id="rId1789"/>
    <p:sldId id="2147476955" r:id="rId1790"/>
    <p:sldId id="2147476956" r:id="rId1791"/>
    <p:sldId id="2147476957" r:id="rId1792"/>
    <p:sldId id="2147476958" r:id="rId1793"/>
    <p:sldId id="2147476959" r:id="rId1794"/>
    <p:sldId id="2147476960" r:id="rId1795"/>
    <p:sldId id="2147476961" r:id="rId1796"/>
    <p:sldId id="2147476962" r:id="rId1797"/>
    <p:sldId id="2147476963" r:id="rId1798"/>
    <p:sldId id="2147476964" r:id="rId1799"/>
    <p:sldId id="2147476965" r:id="rId1800"/>
    <p:sldId id="2147476966" r:id="rId1801"/>
    <p:sldId id="2147476967" r:id="rId1802"/>
    <p:sldId id="2147476968" r:id="rId1803"/>
    <p:sldId id="2147476969" r:id="rId1804"/>
    <p:sldId id="2147476970" r:id="rId1805"/>
    <p:sldId id="2147476971" r:id="rId1806"/>
    <p:sldId id="2147476972" r:id="rId1807"/>
    <p:sldId id="2147476973" r:id="rId1808"/>
    <p:sldId id="2147476974" r:id="rId1809"/>
    <p:sldId id="2147476975" r:id="rId1810"/>
    <p:sldId id="2147476976" r:id="rId1811"/>
    <p:sldId id="2147476977" r:id="rId1812"/>
    <p:sldId id="2147476978" r:id="rId1813"/>
    <p:sldId id="2147476979" r:id="rId1814"/>
    <p:sldId id="2147476980" r:id="rId1815"/>
    <p:sldId id="2147476981" r:id="rId1816"/>
    <p:sldId id="2147476982" r:id="rId1817"/>
    <p:sldId id="2147476983" r:id="rId1818"/>
    <p:sldId id="2147476984" r:id="rId1819"/>
    <p:sldId id="2147476985" r:id="rId1820"/>
    <p:sldId id="2147476986" r:id="rId1821"/>
    <p:sldId id="2147476987" r:id="rId1822"/>
    <p:sldId id="2147476988" r:id="rId1823"/>
    <p:sldId id="2147476989" r:id="rId1824"/>
    <p:sldId id="2147476990" r:id="rId1825"/>
    <p:sldId id="2147476991" r:id="rId1826"/>
    <p:sldId id="2147476992" r:id="rId1827"/>
    <p:sldId id="2147476993" r:id="rId1828"/>
    <p:sldId id="2147476994" r:id="rId1829"/>
    <p:sldId id="2147476995" r:id="rId1830"/>
    <p:sldId id="2147476996" r:id="rId1831"/>
    <p:sldId id="2147476997" r:id="rId1832"/>
    <p:sldId id="2147476998" r:id="rId1833"/>
    <p:sldId id="2147476999" r:id="rId1834"/>
    <p:sldId id="2147477000" r:id="rId1835"/>
    <p:sldId id="2147477001" r:id="rId1836"/>
    <p:sldId id="2147477002" r:id="rId1837"/>
    <p:sldId id="2147477003" r:id="rId1838"/>
    <p:sldId id="2147477004" r:id="rId1839"/>
    <p:sldId id="2147477005" r:id="rId1840"/>
    <p:sldId id="2147477006" r:id="rId1841"/>
    <p:sldId id="2147477007" r:id="rId1842"/>
    <p:sldId id="2147477008" r:id="rId1843"/>
    <p:sldId id="2147477009" r:id="rId1844"/>
    <p:sldId id="2147477010" r:id="rId1845"/>
    <p:sldId id="2147477011" r:id="rId1846"/>
    <p:sldId id="2147477012" r:id="rId1847"/>
    <p:sldId id="2147477013" r:id="rId1848"/>
    <p:sldId id="2147477014" r:id="rId1849"/>
    <p:sldId id="2147477015" r:id="rId1850"/>
    <p:sldId id="2147477016" r:id="rId1851"/>
    <p:sldId id="2147477017" r:id="rId1852"/>
    <p:sldId id="2147477018" r:id="rId1853"/>
    <p:sldId id="2147477019" r:id="rId1854"/>
    <p:sldId id="2147477020" r:id="rId1855"/>
    <p:sldId id="2147477021" r:id="rId1856"/>
    <p:sldId id="2147477022" r:id="rId1857"/>
    <p:sldId id="2147477023" r:id="rId1858"/>
    <p:sldId id="2147477024" r:id="rId1859"/>
    <p:sldId id="2147477025" r:id="rId1860"/>
    <p:sldId id="2147477026" r:id="rId1861"/>
    <p:sldId id="2147477027" r:id="rId1862"/>
    <p:sldId id="2147477028" r:id="rId1863"/>
    <p:sldId id="2147477029" r:id="rId1864"/>
    <p:sldId id="2147477030" r:id="rId1865"/>
    <p:sldId id="2147477031" r:id="rId1866"/>
    <p:sldId id="2147477032" r:id="rId1867"/>
    <p:sldId id="2147477033" r:id="rId1868"/>
    <p:sldId id="2147477034" r:id="rId1869"/>
    <p:sldId id="2147477035" r:id="rId1870"/>
    <p:sldId id="2147477036" r:id="rId1871"/>
    <p:sldId id="2147477037" r:id="rId1872"/>
    <p:sldId id="2147477038" r:id="rId1873"/>
    <p:sldId id="2147477039" r:id="rId1874"/>
    <p:sldId id="2147477040" r:id="rId1875"/>
    <p:sldId id="2147477041" r:id="rId1876"/>
    <p:sldId id="2147477042" r:id="rId1877"/>
    <p:sldId id="2147477043" r:id="rId1878"/>
    <p:sldId id="2147477044" r:id="rId1879"/>
    <p:sldId id="2147477045" r:id="rId1880"/>
    <p:sldId id="2147477046" r:id="rId1881"/>
    <p:sldId id="2147477047" r:id="rId1882"/>
    <p:sldId id="2147477048" r:id="rId1883"/>
    <p:sldId id="2147477049" r:id="rId1884"/>
    <p:sldId id="2147477050" r:id="rId1885"/>
    <p:sldId id="2147477051" r:id="rId1886"/>
    <p:sldId id="2147477052" r:id="rId1887"/>
    <p:sldId id="2147477053" r:id="rId1888"/>
    <p:sldId id="2147477054" r:id="rId1889"/>
    <p:sldId id="2147477055" r:id="rId1890"/>
    <p:sldId id="2147477056" r:id="rId1891"/>
    <p:sldId id="2147477057" r:id="rId1892"/>
    <p:sldId id="2147477058" r:id="rId1893"/>
    <p:sldId id="2147477059" r:id="rId1894"/>
    <p:sldId id="2147477060" r:id="rId1895"/>
    <p:sldId id="2147477061" r:id="rId1896"/>
    <p:sldId id="2147477062" r:id="rId1897"/>
    <p:sldId id="2147477063" r:id="rId1898"/>
    <p:sldId id="2147477064" r:id="rId1899"/>
    <p:sldId id="2147477065" r:id="rId1900"/>
    <p:sldId id="2147477066" r:id="rId1901"/>
    <p:sldId id="2147477067" r:id="rId1902"/>
    <p:sldId id="2147477068" r:id="rId1903"/>
    <p:sldId id="2147477069" r:id="rId1904"/>
    <p:sldId id="2147477070" r:id="rId1905"/>
    <p:sldId id="2147477071" r:id="rId1906"/>
    <p:sldId id="2147477072" r:id="rId1907"/>
    <p:sldId id="2147477073" r:id="rId1908"/>
    <p:sldId id="2147477074" r:id="rId1909"/>
    <p:sldId id="2147477075" r:id="rId1910"/>
    <p:sldId id="2147477076" r:id="rId1911"/>
    <p:sldId id="2147477077" r:id="rId1912"/>
    <p:sldId id="2147477078" r:id="rId1913"/>
    <p:sldId id="2147477079" r:id="rId1914"/>
    <p:sldId id="2147477080" r:id="rId1915"/>
    <p:sldId id="2147477081" r:id="rId1916"/>
    <p:sldId id="2147477082" r:id="rId1917"/>
    <p:sldId id="2147477083" r:id="rId1918"/>
    <p:sldId id="2147477084" r:id="rId1919"/>
    <p:sldId id="2147477085" r:id="rId1920"/>
    <p:sldId id="2147477086" r:id="rId1921"/>
    <p:sldId id="2147477087" r:id="rId1922"/>
    <p:sldId id="2147477088" r:id="rId1923"/>
    <p:sldId id="2147477089" r:id="rId1924"/>
    <p:sldId id="2147477090" r:id="rId1925"/>
    <p:sldId id="2147477091" r:id="rId1926"/>
    <p:sldId id="2147477092" r:id="rId1927"/>
    <p:sldId id="2147477093" r:id="rId1928"/>
    <p:sldId id="2147477094" r:id="rId1929"/>
    <p:sldId id="2147477095" r:id="rId1930"/>
    <p:sldId id="2147477096" r:id="rId1931"/>
    <p:sldId id="2147477097" r:id="rId1932"/>
    <p:sldId id="2147477098" r:id="rId1933"/>
    <p:sldId id="2147477099" r:id="rId1934"/>
    <p:sldId id="2147477100" r:id="rId1935"/>
    <p:sldId id="2147477101" r:id="rId1936"/>
    <p:sldId id="2147477102" r:id="rId1937"/>
    <p:sldId id="2147477103" r:id="rId1938"/>
    <p:sldId id="2147477104" r:id="rId1939"/>
    <p:sldId id="2147477105" r:id="rId1940"/>
    <p:sldId id="2147477106" r:id="rId1941"/>
    <p:sldId id="2147477107" r:id="rId1942"/>
    <p:sldId id="2147477108" r:id="rId1943"/>
    <p:sldId id="2147477109" r:id="rId1944"/>
    <p:sldId id="2147477110" r:id="rId1945"/>
    <p:sldId id="2147477111" r:id="rId1946"/>
    <p:sldId id="2147477112" r:id="rId1947"/>
    <p:sldId id="2147477113" r:id="rId1948"/>
    <p:sldId id="2147477114" r:id="rId1949"/>
    <p:sldId id="2147477115" r:id="rId1950"/>
    <p:sldId id="2147477116" r:id="rId1951"/>
    <p:sldId id="2147477117" r:id="rId1952"/>
    <p:sldId id="2147477118" r:id="rId1953"/>
    <p:sldId id="2147477119" r:id="rId1954"/>
    <p:sldId id="2147477120" r:id="rId1955"/>
    <p:sldId id="2147477121" r:id="rId1956"/>
    <p:sldId id="2147477122" r:id="rId1957"/>
    <p:sldId id="2147477123" r:id="rId1958"/>
    <p:sldId id="2147477124" r:id="rId1959"/>
    <p:sldId id="2147477125" r:id="rId1960"/>
    <p:sldId id="2147477126" r:id="rId1961"/>
    <p:sldId id="2147477127" r:id="rId1962"/>
    <p:sldId id="2147477128" r:id="rId1963"/>
    <p:sldId id="2147477129" r:id="rId1964"/>
    <p:sldId id="2147477130" r:id="rId1965"/>
    <p:sldId id="2147477131" r:id="rId1966"/>
    <p:sldId id="2147477132" r:id="rId1967"/>
    <p:sldId id="2147477133" r:id="rId1968"/>
    <p:sldId id="2147477134" r:id="rId1969"/>
    <p:sldId id="2147477135" r:id="rId1970"/>
    <p:sldId id="2147477136" r:id="rId1971"/>
    <p:sldId id="2147477137" r:id="rId1972"/>
    <p:sldId id="2147477138" r:id="rId1973"/>
    <p:sldId id="2147477139" r:id="rId1974"/>
    <p:sldId id="2147477140" r:id="rId1975"/>
    <p:sldId id="2147477141" r:id="rId1976"/>
    <p:sldId id="2147477142" r:id="rId1977"/>
    <p:sldId id="2147477143" r:id="rId1978"/>
    <p:sldId id="2147477144" r:id="rId1979"/>
    <p:sldId id="2147477145" r:id="rId1980"/>
    <p:sldId id="2147477146" r:id="rId1981"/>
    <p:sldId id="2147477147" r:id="rId1982"/>
    <p:sldId id="2147477148" r:id="rId1983"/>
    <p:sldId id="2147477149" r:id="rId1984"/>
    <p:sldId id="2147477150" r:id="rId1985"/>
    <p:sldId id="2147477151" r:id="rId1986"/>
    <p:sldId id="2147477152" r:id="rId1987"/>
    <p:sldId id="2147477153" r:id="rId1988"/>
    <p:sldId id="2147477154" r:id="rId1989"/>
    <p:sldId id="2147477155" r:id="rId1990"/>
    <p:sldId id="2147477156" r:id="rId1991"/>
    <p:sldId id="2147477157" r:id="rId1992"/>
    <p:sldId id="2147477158" r:id="rId1993"/>
    <p:sldId id="2147477159" r:id="rId1994"/>
    <p:sldId id="2147477160" r:id="rId1995"/>
    <p:sldId id="2147477161" r:id="rId1996"/>
    <p:sldId id="2147477162" r:id="rId1997"/>
    <p:sldId id="2147477163" r:id="rId1998"/>
    <p:sldId id="2147477164" r:id="rId1999"/>
    <p:sldId id="2147477165" r:id="rId2000"/>
    <p:sldId id="2147477166" r:id="rId2001"/>
    <p:sldId id="2147477167" r:id="rId2002"/>
    <p:sldId id="2147477168" r:id="rId2003"/>
    <p:sldId id="2147477169" r:id="rId2004"/>
    <p:sldId id="2147477170" r:id="rId2005"/>
    <p:sldId id="2147477171" r:id="rId2006"/>
    <p:sldId id="2147477172" r:id="rId2007"/>
    <p:sldId id="2147477173" r:id="rId2008"/>
    <p:sldId id="2147477174" r:id="rId2009"/>
    <p:sldId id="2147477175" r:id="rId2010"/>
    <p:sldId id="2147477176" r:id="rId2011"/>
    <p:sldId id="2147477177" r:id="rId2012"/>
    <p:sldId id="2147477178" r:id="rId2013"/>
    <p:sldId id="2147477179" r:id="rId2014"/>
    <p:sldId id="2147477180" r:id="rId2015"/>
    <p:sldId id="2147477181" r:id="rId201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5C2A672E-AA8D-43F0-9637-C78FFAC8C38E}">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Market Trends by Brands" id="{62EEF8D2-2515-41BA-A610-C4A5E32008EC}">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Lst>
        </p14:section>
        <p14:section name="Market Trends by Sectors" id="{6FF82A7A-57E2-455F-A1E4-B94CC11E910D}">
          <p14:sldIdLst>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Lst>
        </p14:section>
        <p14:section name="Market Trends by Segments" id="{423CA20C-A39E-4D1E-882C-16BDD45BD946}">
          <p14:sldIdLst>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Lst>
        </p14:section>
        <p14:section name="Market Concentration By Manufacturer" id="{69462593-388B-45AF-833A-A045A1A4EDAB}">
          <p14:sldIdLst>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Lst>
        </p14:section>
        <p14:section name="Market Concentration By Brands" id="{0C31A181-F9EB-4E9F-895A-DD4FF7F1A874}">
          <p14:sldIdLst>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 id="2147476752"/>
            <p14:sldId id="2147476753"/>
            <p14:sldId id="2147476754"/>
            <p14:sldId id="2147476755"/>
            <p14:sldId id="2147476756"/>
            <p14:sldId id="2147476757"/>
            <p14:sldId id="2147476758"/>
            <p14:sldId id="2147476759"/>
            <p14:sldId id="2147476760"/>
            <p14:sldId id="2147476761"/>
            <p14:sldId id="2147476762"/>
            <p14:sldId id="2147476763"/>
            <p14:sldId id="2147476764"/>
            <p14:sldId id="2147476765"/>
            <p14:sldId id="2147476766"/>
            <p14:sldId id="2147476767"/>
            <p14:sldId id="2147476768"/>
            <p14:sldId id="2147476769"/>
            <p14:sldId id="2147476770"/>
            <p14:sldId id="2147476771"/>
            <p14:sldId id="2147476772"/>
            <p14:sldId id="2147476773"/>
            <p14:sldId id="2147476774"/>
            <p14:sldId id="2147476775"/>
            <p14:sldId id="2147476776"/>
            <p14:sldId id="2147476777"/>
            <p14:sldId id="2147476778"/>
            <p14:sldId id="2147476779"/>
            <p14:sldId id="2147476780"/>
            <p14:sldId id="2147476781"/>
            <p14:sldId id="2147476782"/>
            <p14:sldId id="2147476783"/>
            <p14:sldId id="2147476784"/>
            <p14:sldId id="2147476785"/>
            <p14:sldId id="2147476786"/>
            <p14:sldId id="2147476787"/>
            <p14:sldId id="2147476788"/>
            <p14:sldId id="2147476789"/>
            <p14:sldId id="2147476790"/>
            <p14:sldId id="2147476791"/>
            <p14:sldId id="2147476792"/>
            <p14:sldId id="2147476793"/>
            <p14:sldId id="2147476794"/>
            <p14:sldId id="2147476795"/>
            <p14:sldId id="2147476796"/>
            <p14:sldId id="2147476797"/>
            <p14:sldId id="2147476798"/>
            <p14:sldId id="2147476799"/>
            <p14:sldId id="2147476800"/>
            <p14:sldId id="2147476801"/>
            <p14:sldId id="2147476802"/>
            <p14:sldId id="2147476803"/>
            <p14:sldId id="2147476804"/>
            <p14:sldId id="2147476805"/>
            <p14:sldId id="2147476806"/>
            <p14:sldId id="2147476807"/>
            <p14:sldId id="2147476808"/>
            <p14:sldId id="2147476809"/>
            <p14:sldId id="2147476810"/>
            <p14:sldId id="2147476811"/>
            <p14:sldId id="2147476812"/>
            <p14:sldId id="2147476813"/>
            <p14:sldId id="2147476814"/>
            <p14:sldId id="2147476815"/>
            <p14:sldId id="2147476816"/>
            <p14:sldId id="2147476817"/>
            <p14:sldId id="2147476818"/>
            <p14:sldId id="2147476819"/>
            <p14:sldId id="2147476820"/>
            <p14:sldId id="2147476821"/>
            <p14:sldId id="2147476822"/>
            <p14:sldId id="2147476823"/>
            <p14:sldId id="2147476824"/>
            <p14:sldId id="2147476825"/>
            <p14:sldId id="2147476826"/>
            <p14:sldId id="2147476827"/>
            <p14:sldId id="2147476828"/>
            <p14:sldId id="2147476829"/>
            <p14:sldId id="2147476830"/>
            <p14:sldId id="2147476831"/>
            <p14:sldId id="2147476832"/>
            <p14:sldId id="2147476833"/>
            <p14:sldId id="2147476834"/>
            <p14:sldId id="2147476835"/>
            <p14:sldId id="2147476836"/>
            <p14:sldId id="2147476837"/>
            <p14:sldId id="2147476838"/>
            <p14:sldId id="2147476839"/>
            <p14:sldId id="2147476840"/>
            <p14:sldId id="2147476841"/>
            <p14:sldId id="2147476842"/>
            <p14:sldId id="2147476843"/>
            <p14:sldId id="2147476844"/>
            <p14:sldId id="2147476845"/>
            <p14:sldId id="2147476846"/>
            <p14:sldId id="2147476847"/>
            <p14:sldId id="2147476848"/>
            <p14:sldId id="2147476849"/>
            <p14:sldId id="2147476850"/>
            <p14:sldId id="2147476851"/>
            <p14:sldId id="2147476852"/>
            <p14:sldId id="2147476853"/>
            <p14:sldId id="2147476854"/>
            <p14:sldId id="2147476855"/>
            <p14:sldId id="2147476856"/>
            <p14:sldId id="2147476857"/>
            <p14:sldId id="2147476858"/>
            <p14:sldId id="2147476859"/>
            <p14:sldId id="2147476860"/>
            <p14:sldId id="2147476861"/>
            <p14:sldId id="2147476862"/>
            <p14:sldId id="2147476863"/>
            <p14:sldId id="2147476864"/>
            <p14:sldId id="2147476865"/>
            <p14:sldId id="2147476866"/>
            <p14:sldId id="2147476867"/>
            <p14:sldId id="2147476868"/>
            <p14:sldId id="2147476869"/>
            <p14:sldId id="2147476870"/>
            <p14:sldId id="2147476871"/>
            <p14:sldId id="2147476872"/>
            <p14:sldId id="2147476873"/>
            <p14:sldId id="2147476874"/>
            <p14:sldId id="2147476875"/>
            <p14:sldId id="2147476876"/>
            <p14:sldId id="2147476877"/>
            <p14:sldId id="2147476878"/>
            <p14:sldId id="2147476879"/>
            <p14:sldId id="2147476880"/>
            <p14:sldId id="2147476881"/>
            <p14:sldId id="2147476882"/>
            <p14:sldId id="2147476883"/>
            <p14:sldId id="2147476884"/>
            <p14:sldId id="2147476885"/>
            <p14:sldId id="2147476886"/>
            <p14:sldId id="2147476887"/>
            <p14:sldId id="2147476888"/>
            <p14:sldId id="2147476889"/>
            <p14:sldId id="2147476890"/>
            <p14:sldId id="2147476891"/>
            <p14:sldId id="2147476892"/>
            <p14:sldId id="2147476893"/>
            <p14:sldId id="2147476894"/>
            <p14:sldId id="2147476895"/>
            <p14:sldId id="2147476896"/>
            <p14:sldId id="2147476897"/>
            <p14:sldId id="2147476898"/>
            <p14:sldId id="2147476899"/>
            <p14:sldId id="2147476900"/>
            <p14:sldId id="2147476901"/>
            <p14:sldId id="2147476902"/>
            <p14:sldId id="2147476903"/>
            <p14:sldId id="2147476904"/>
            <p14:sldId id="2147476905"/>
            <p14:sldId id="2147476906"/>
            <p14:sldId id="2147476907"/>
            <p14:sldId id="2147476908"/>
            <p14:sldId id="2147476909"/>
            <p14:sldId id="2147476910"/>
            <p14:sldId id="2147476911"/>
            <p14:sldId id="2147476912"/>
            <p14:sldId id="2147476913"/>
            <p14:sldId id="2147476914"/>
            <p14:sldId id="2147476915"/>
            <p14:sldId id="2147476916"/>
            <p14:sldId id="2147476917"/>
            <p14:sldId id="2147476918"/>
            <p14:sldId id="2147476919"/>
            <p14:sldId id="2147476920"/>
            <p14:sldId id="2147476921"/>
            <p14:sldId id="2147476922"/>
            <p14:sldId id="2147476923"/>
            <p14:sldId id="2147476924"/>
            <p14:sldId id="2147476925"/>
            <p14:sldId id="2147476926"/>
            <p14:sldId id="2147476927"/>
            <p14:sldId id="2147476928"/>
            <p14:sldId id="2147476929"/>
            <p14:sldId id="2147476930"/>
            <p14:sldId id="2147476931"/>
            <p14:sldId id="2147476932"/>
            <p14:sldId id="2147476933"/>
            <p14:sldId id="2147476934"/>
            <p14:sldId id="2147476935"/>
            <p14:sldId id="2147476936"/>
            <p14:sldId id="2147476937"/>
            <p14:sldId id="2147476938"/>
            <p14:sldId id="2147476939"/>
            <p14:sldId id="2147476940"/>
            <p14:sldId id="2147476941"/>
            <p14:sldId id="2147476942"/>
            <p14:sldId id="2147476943"/>
            <p14:sldId id="2147476944"/>
            <p14:sldId id="2147476945"/>
            <p14:sldId id="2147476946"/>
            <p14:sldId id="2147476947"/>
            <p14:sldId id="2147476948"/>
            <p14:sldId id="2147476949"/>
            <p14:sldId id="2147476950"/>
            <p14:sldId id="2147476951"/>
            <p14:sldId id="2147476952"/>
            <p14:sldId id="2147476953"/>
            <p14:sldId id="2147476954"/>
            <p14:sldId id="2147476955"/>
            <p14:sldId id="2147476956"/>
            <p14:sldId id="2147476957"/>
            <p14:sldId id="2147476958"/>
            <p14:sldId id="2147476959"/>
            <p14:sldId id="2147476960"/>
            <p14:sldId id="2147476961"/>
            <p14:sldId id="2147476962"/>
            <p14:sldId id="2147476963"/>
          </p14:sldIdLst>
        </p14:section>
        <p14:section name="Market Concentration By Sectors" id="{AD50CEDC-6FB0-48E5-9107-75E2C94493ED}">
          <p14:sldIdLst>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Lst>
        </p14:section>
        <p14:section name="Market Concentration By Segments" id="{F14E2490-BBE3-434B-8D51-DFA2648DB46C}">
          <p14:sldIdLst>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Lst>
        </p14:section>
        <p14:section name="Value Vs AvgPrice By Sectors" id="{7A63975F-4967-4412-B191-68129FDB51C7}">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Lst>
        </p14:section>
        <p14:section name="Value Vs AvgPrice By Segments" id="{788C6339-79E9-43F5-BAE1-16FC14901040}">
          <p14:sldIdLst>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Lst>
        </p14:section>
        <p14:section name="Value Vs AvgPrice By Channel For Region" id="{30B5AFA6-8CC8-4CCF-AA55-C426C5786FE1}">
          <p14:sldIdLst>
            <p14:sldId id="2147477134"/>
            <p14:sldId id="2147477135"/>
            <p14:sldId id="2147477136"/>
            <p14:sldId id="2147477137"/>
            <p14:sldId id="2147477138"/>
            <p14:sldId id="2147477139"/>
            <p14:sldId id="2147477140"/>
            <p14:sldId id="2147477141"/>
            <p14:sldId id="2147477142"/>
            <p14:sldId id="2147477143"/>
            <p14:sldId id="2147477144"/>
            <p14:sldId id="2147477145"/>
          </p14:sldIdLst>
        </p14:section>
        <p14:section name="Value Vs AvgPrice By Channel For Channel" id="{F5CCE32D-617B-4E5C-8F4E-8D693D01C344}">
          <p14:sldIdLst>
            <p14:sldId id="2147477146"/>
            <p14:sldId id="2147477147"/>
            <p14:sldId id="2147477148"/>
            <p14:sldId id="2147477149"/>
            <p14:sldId id="2147477150"/>
            <p14:sldId id="2147477151"/>
            <p14:sldId id="2147477152"/>
            <p14:sldId id="2147477153"/>
            <p14:sldId id="2147477154"/>
            <p14:sldId id="2147477155"/>
            <p14:sldId id="2147477156"/>
            <p14:sldId id="2147477157"/>
          </p14:sldIdLst>
        </p14:section>
        <p14:section name="Value Vs AvgPrice By Region For Channel" id="{7F79E11E-B774-4D7B-B111-ABC23BAB78F4}">
          <p14:sldIdLst>
            <p14:sldId id="2147477158"/>
            <p14:sldId id="2147477159"/>
            <p14:sldId id="2147477160"/>
            <p14:sldId id="2147477161"/>
            <p14:sldId id="2147477162"/>
            <p14:sldId id="2147477163"/>
            <p14:sldId id="2147477164"/>
            <p14:sldId id="2147477165"/>
            <p14:sldId id="2147477166"/>
            <p14:sldId id="2147477167"/>
            <p14:sldId id="2147477168"/>
            <p14:sldId id="2147477169"/>
          </p14:sldIdLst>
        </p14:section>
        <p14:section name="Value Vs AvgPrice By REVENUE For Channel" id="{3E5844C7-0855-4D53-BD76-4CE6B6933C03}">
          <p14:sldIdLst>
            <p14:sldId id="2147477170"/>
            <p14:sldId id="2147477171"/>
            <p14:sldId id="2147477172"/>
            <p14:sldId id="2147477173"/>
            <p14:sldId id="2147477174"/>
            <p14:sldId id="2147477175"/>
            <p14:sldId id="2147477176"/>
            <p14:sldId id="2147477177"/>
            <p14:sldId id="2147477178"/>
            <p14:sldId id="2147477179"/>
            <p14:sldId id="2147477180"/>
            <p14:sldId id="2147477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notesMaster" Target="notesMasters/notesMaster1.xml"/><Relationship Id="rId2018" Type="http://schemas.openxmlformats.org/officeDocument/2006/relationships/presProps" Target="presProps.xml"/><Relationship Id="rId2019" Type="http://schemas.openxmlformats.org/officeDocument/2006/relationships/viewProps" Target="viewProps.xml"/><Relationship Id="rId2020" Type="http://schemas.openxmlformats.org/officeDocument/2006/relationships/theme" Target="theme/theme1.xml"/><Relationship Id="rId2021" Type="http://schemas.openxmlformats.org/officeDocument/2006/relationships/tableStyles" Target="tableStyles.xml"/><Relationship Id="rId2022" Type="http://schemas.microsoft.com/office/2018/10/relationships/authors" Target="authors.xml"/></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47.xml.rels><?xml version='1.0' encoding='UTF-8' standalone='yes'?>
<Relationships xmlns="http://schemas.openxmlformats.org/package/2006/relationships"><Relationship Id="rId1" Type="http://schemas.openxmlformats.org/officeDocument/2006/relationships/package" Target="../embeddings/Microsoft_Excel_Worksheet1546.xlsx"/></Relationships>
</file>

<file path=ppt/charts/_rels/chart1548.xml.rels><?xml version='1.0' encoding='UTF-8' standalone='yes'?>
<Relationships xmlns="http://schemas.openxmlformats.org/package/2006/relationships"><Relationship Id="rId1" Type="http://schemas.openxmlformats.org/officeDocument/2006/relationships/package" Target="../embeddings/Microsoft_Excel_Worksheet1547.xlsx"/></Relationships>
</file>

<file path=ppt/charts/_rels/chart1549.xml.rels><?xml version='1.0' encoding='UTF-8' standalone='yes'?>
<Relationships xmlns="http://schemas.openxmlformats.org/package/2006/relationships"><Relationship Id="rId1" Type="http://schemas.openxmlformats.org/officeDocument/2006/relationships/package" Target="../embeddings/Microsoft_Excel_Worksheet1548.xlsx"/></Relationships>
</file>

<file path=ppt/charts/_rels/chart1550.xml.rels><?xml version='1.0' encoding='UTF-8' standalone='yes'?>
<Relationships xmlns="http://schemas.openxmlformats.org/package/2006/relationships"><Relationship Id="rId1" Type="http://schemas.openxmlformats.org/officeDocument/2006/relationships/package" Target="../embeddings/Microsoft_Excel_Worksheet1549.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openxmlformats.org/officeDocument/2006/relationships/package" Target="../embeddings/Microsoft_Excel_Worksheet1563.xlsx"/></Relationships>
</file>

<file path=ppt/charts/_rels/chart1575.xml.rels><?xml version='1.0' encoding='UTF-8' standalone='yes'?>
<Relationships xmlns="http://schemas.openxmlformats.org/package/2006/relationships"><Relationship Id="rId1"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openxmlformats.org/officeDocument/2006/relationships/package" Target="../embeddings/Microsoft_Excel_Worksheet1595.xlsx"/></Relationships>
</file>

<file path=ppt/charts/_rels/chart1625.xml.rels><?xml version='1.0' encoding='UTF-8' standalone='yes'?>
<Relationships xmlns="http://schemas.openxmlformats.org/package/2006/relationships"><Relationship Id="rId1"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7.xml.rels><?xml version='1.0' encoding='UTF-8' standalone='yes'?>
<Relationships xmlns="http://schemas.openxmlformats.org/package/2006/relationships"><Relationship Id="rId1"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openxmlformats.org/officeDocument/2006/relationships/package" Target="../embeddings/Microsoft_Excel_Worksheet1639.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package" Target="../embeddings/Microsoft_Excel_Worksheet1653.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9.xml.rels><?xml version='1.0' encoding='UTF-8' standalone='yes'?>
<Relationships xmlns="http://schemas.openxmlformats.org/package/2006/relationships"><Relationship Id="rId1"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openxmlformats.org/officeDocument/2006/relationships/package" Target="../embeddings/Microsoft_Excel_Worksheet1669.xlsx"/></Relationships>
</file>

<file path=ppt/charts/_rels/chart1681.xml.rels><?xml version='1.0' encoding='UTF-8' standalone='yes'?>
<Relationships xmlns="http://schemas.openxmlformats.org/package/2006/relationships"><Relationship Id="rId1"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openxmlformats.org/officeDocument/2006/relationships/package" Target="../embeddings/Microsoft_Excel_Worksheet1681.xlsx"/></Relationships>
</file>

<file path=ppt/charts/_rels/chart1683.xml.rels><?xml version='1.0' encoding='UTF-8' standalone='yes'?>
<Relationships xmlns="http://schemas.openxmlformats.org/package/2006/relationships"><Relationship Id="rId1"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openxmlformats.org/officeDocument/2006/relationships/package" Target="../embeddings/Microsoft_Excel_Worksheet1684.xlsx"/></Relationships>
</file>

<file path=ppt/charts/_rels/chart1686.xml.rels><?xml version='1.0' encoding='UTF-8' standalone='yes'?>
<Relationships xmlns="http://schemas.openxmlformats.org/package/2006/relationships"><Relationship Id="rId1" Type="http://schemas.openxmlformats.org/officeDocument/2006/relationships/package" Target="../embeddings/Microsoft_Excel_Worksheet1685.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openxmlformats.org/officeDocument/2006/relationships/package" Target="../embeddings/Microsoft_Excel_Worksheet169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1.xml.rels><?xml version='1.0' encoding='UTF-8' standalone='yes'?>
<Relationships xmlns="http://schemas.openxmlformats.org/package/2006/relationships"><Relationship Id="rId1"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25.xml.rels><?xml version='1.0' encoding='UTF-8' standalone='yes'?>
<Relationships xmlns="http://schemas.openxmlformats.org/package/2006/relationships"><Relationship Id="rId1"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openxmlformats.org/officeDocument/2006/relationships/package" Target="../embeddings/Microsoft_Excel_Worksheet1728.xlsx"/></Relationships>
</file>

<file path=ppt/charts/_rels/chart1730.xml.rels><?xml version='1.0' encoding='UTF-8' standalone='yes'?>
<Relationships xmlns="http://schemas.openxmlformats.org/package/2006/relationships"><Relationship Id="rId1" Type="http://schemas.openxmlformats.org/officeDocument/2006/relationships/package" Target="../embeddings/Microsoft_Excel_Worksheet1729.xlsx"/></Relationships>
</file>

<file path=ppt/charts/_rels/chart1739.xml.rels><?xml version='1.0' encoding='UTF-8' standalone='yes'?>
<Relationships xmlns="http://schemas.openxmlformats.org/package/2006/relationships"><Relationship Id="rId1" Type="http://schemas.openxmlformats.org/officeDocument/2006/relationships/package" Target="../embeddings/Microsoft_Excel_Worksheet1738.xlsx"/></Relationships>
</file>

<file path=ppt/charts/_rels/chart1740.xml.rels><?xml version='1.0' encoding='UTF-8' standalone='yes'?>
<Relationships xmlns="http://schemas.openxmlformats.org/package/2006/relationships"><Relationship Id="rId1" Type="http://schemas.openxmlformats.org/officeDocument/2006/relationships/package" Target="../embeddings/Microsoft_Excel_Worksheet1739.xlsx"/></Relationships>
</file>

<file path=ppt/charts/_rels/chart1741.xml.rels><?xml version='1.0' encoding='UTF-8' standalone='yes'?>
<Relationships xmlns="http://schemas.openxmlformats.org/package/2006/relationships"><Relationship Id="rId1"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openxmlformats.org/officeDocument/2006/relationships/package" Target="../embeddings/Microsoft_Excel_Worksheet1741.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3.xml.rels><?xml version='1.0' encoding='UTF-8' standalone='yes'?>
<Relationships xmlns="http://schemas.openxmlformats.org/package/2006/relationships"><Relationship Id="rId1" Type="http://schemas.openxmlformats.org/officeDocument/2006/relationships/package" Target="../embeddings/Microsoft_Excel_Worksheet1752.xlsx"/></Relationships>
</file>

<file path=ppt/charts/_rels/chart1754.xml.rels><?xml version='1.0' encoding='UTF-8' standalone='yes'?>
<Relationships xmlns="http://schemas.openxmlformats.org/package/2006/relationships"><Relationship Id="rId1"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openxmlformats.org/officeDocument/2006/relationships/package" Target="../embeddings/Microsoft_Excel_Worksheet1755.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3.xml.rels><?xml version='1.0' encoding='UTF-8' standalone='yes'?>
<Relationships xmlns="http://schemas.openxmlformats.org/package/2006/relationships"><Relationship Id="rId1"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openxmlformats.org/officeDocument/2006/relationships/package" Target="../embeddings/Microsoft_Excel_Worksheet178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3.xml.rels><?xml version='1.0' encoding='UTF-8' standalone='yes'?>
<Relationships xmlns="http://schemas.openxmlformats.org/package/2006/relationships"><Relationship Id="rId1" Type="http://schemas.openxmlformats.org/officeDocument/2006/relationships/package" Target="../embeddings/Microsoft_Excel_Worksheet1802.xlsx"/></Relationships>
</file>

<file path=ppt/charts/_rels/chart1804.xml.rels><?xml version='1.0' encoding='UTF-8' standalone='yes'?>
<Relationships xmlns="http://schemas.openxmlformats.org/package/2006/relationships"><Relationship Id="rId1"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openxmlformats.org/officeDocument/2006/relationships/package" Target="../embeddings/Microsoft_Excel_Worksheet1804.xlsx"/></Relationships>
</file>

<file path=ppt/charts/_rels/chart1806.xml.rels><?xml version='1.0' encoding='UTF-8' standalone='yes'?>
<Relationships xmlns="http://schemas.openxmlformats.org/package/2006/relationships"><Relationship Id="rId1" Type="http://schemas.openxmlformats.org/officeDocument/2006/relationships/package" Target="../embeddings/Microsoft_Excel_Worksheet1805.xlsx"/></Relationships>
</file>

<file path=ppt/charts/_rels/chart1815.xml.rels><?xml version='1.0' encoding='UTF-8' standalone='yes'?>
<Relationships xmlns="http://schemas.openxmlformats.org/package/2006/relationships"><Relationship Id="rId1" Type="http://schemas.openxmlformats.org/officeDocument/2006/relationships/package" Target="../embeddings/Microsoft_Excel_Worksheet1814.xlsx"/></Relationships>
</file>

<file path=ppt/charts/_rels/chart1816.xml.rels><?xml version='1.0' encoding='UTF-8' standalone='yes'?>
<Relationships xmlns="http://schemas.openxmlformats.org/package/2006/relationships"><Relationship Id="rId1" Type="http://schemas.openxmlformats.org/officeDocument/2006/relationships/package" Target="../embeddings/Microsoft_Excel_Worksheet1815.xlsx"/></Relationships>
</file>

<file path=ppt/charts/_rels/chart1817.xml.rels><?xml version='1.0' encoding='UTF-8' standalone='yes'?>
<Relationships xmlns="http://schemas.openxmlformats.org/package/2006/relationships"><Relationship Id="rId1" Type="http://schemas.openxmlformats.org/officeDocument/2006/relationships/package" Target="../embeddings/Microsoft_Excel_Worksheet1816.xlsx"/></Relationships>
</file>

<file path=ppt/charts/_rels/chart1818.xml.rels><?xml version='1.0' encoding='UTF-8' standalone='yes'?>
<Relationships xmlns="http://schemas.openxmlformats.org/package/2006/relationships"><Relationship Id="rId1" Type="http://schemas.openxmlformats.org/officeDocument/2006/relationships/package" Target="../embeddings/Microsoft_Excel_Worksheet1817.xlsx"/></Relationships>
</file>

<file path=ppt/charts/_rels/chart1819.xml.rels><?xml version='1.0' encoding='UTF-8' standalone='yes'?>
<Relationships xmlns="http://schemas.openxmlformats.org/package/2006/relationships"><Relationship Id="rId1" Type="http://schemas.openxmlformats.org/officeDocument/2006/relationships/package" Target="../embeddings/Microsoft_Excel_Worksheet1818.xlsx"/></Relationships>
</file>

<file path=ppt/charts/_rels/chart1820.xml.rels><?xml version='1.0' encoding='UTF-8' standalone='yes'?>
<Relationships xmlns="http://schemas.openxmlformats.org/package/2006/relationships"><Relationship Id="rId1" Type="http://schemas.openxmlformats.org/officeDocument/2006/relationships/package" Target="../embeddings/Microsoft_Excel_Worksheet1819.xlsx"/></Relationships>
</file>

<file path=ppt/charts/_rels/chart1831.xml.rels><?xml version='1.0' encoding='UTF-8' standalone='yes'?>
<Relationships xmlns="http://schemas.openxmlformats.org/package/2006/relationships"><Relationship Id="rId1" Type="http://schemas.openxmlformats.org/officeDocument/2006/relationships/package" Target="../embeddings/Microsoft_Excel_Worksheet1830.xlsx"/></Relationships>
</file>

<file path=ppt/charts/_rels/chart1832.xml.rels><?xml version='1.0' encoding='UTF-8' standalone='yes'?>
<Relationships xmlns="http://schemas.openxmlformats.org/package/2006/relationships"><Relationship Id="rId1" Type="http://schemas.openxmlformats.org/officeDocument/2006/relationships/package" Target="../embeddings/Microsoft_Excel_Worksheet1831.xlsx"/></Relationships>
</file>

<file path=ppt/charts/_rels/chart1847.xml.rels><?xml version='1.0' encoding='UTF-8' standalone='yes'?>
<Relationships xmlns="http://schemas.openxmlformats.org/package/2006/relationships"><Relationship Id="rId1"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package" Target="../embeddings/Microsoft_Excel_Worksheet1848.xlsx"/></Relationships>
</file>

<file path=ppt/charts/_rels/chart1850.xml.rels><?xml version='1.0' encoding='UTF-8' standalone='yes'?>
<Relationships xmlns="http://schemas.openxmlformats.org/package/2006/relationships"><Relationship Id="rId1" Type="http://schemas.openxmlformats.org/officeDocument/2006/relationships/package" Target="../embeddings/Microsoft_Excel_Worksheet1849.xlsx"/></Relationships>
</file>

<file path=ppt/charts/_rels/chart1859.xml.rels><?xml version='1.0' encoding='UTF-8' standalone='yes'?>
<Relationships xmlns="http://schemas.openxmlformats.org/package/2006/relationships"><Relationship Id="rId1" Type="http://schemas.openxmlformats.org/officeDocument/2006/relationships/package" Target="../embeddings/Microsoft_Excel_Worksheet1858.xlsx"/></Relationships>
</file>

<file path=ppt/charts/_rels/chart1860.xml.rels><?xml version='1.0' encoding='UTF-8' standalone='yes'?>
<Relationships xmlns="http://schemas.openxmlformats.org/package/2006/relationships"><Relationship Id="rId1" Type="http://schemas.openxmlformats.org/officeDocument/2006/relationships/package" Target="../embeddings/Microsoft_Excel_Worksheet1859.xlsx"/></Relationships>
</file>

<file path=ppt/charts/_rels/chart1861.xml.rels><?xml version='1.0' encoding='UTF-8' standalone='yes'?>
<Relationships xmlns="http://schemas.openxmlformats.org/package/2006/relationships"><Relationship Id="rId1" Type="http://schemas.openxmlformats.org/officeDocument/2006/relationships/package" Target="../embeddings/Microsoft_Excel_Worksheet1860.xlsx"/></Relationships>
</file>

<file path=ppt/charts/_rels/chart1862.xml.rels><?xml version='1.0' encoding='UTF-8' standalone='yes'?>
<Relationships xmlns="http://schemas.openxmlformats.org/package/2006/relationships"><Relationship Id="rId1" Type="http://schemas.openxmlformats.org/officeDocument/2006/relationships/package" Target="../embeddings/Microsoft_Excel_Worksheet1861.xlsx"/></Relationships>
</file>

<file path=ppt/charts/_rels/chart1863.xml.rels><?xml version='1.0' encoding='UTF-8' standalone='yes'?>
<Relationships xmlns="http://schemas.openxmlformats.org/package/2006/relationships"><Relationship Id="rId1" Type="http://schemas.openxmlformats.org/officeDocument/2006/relationships/package" Target="../embeddings/Microsoft_Excel_Worksheet1862.xlsx"/></Relationships>
</file>

<file path=ppt/charts/_rels/chart1864.xml.rels><?xml version='1.0' encoding='UTF-8' standalone='yes'?>
<Relationships xmlns="http://schemas.openxmlformats.org/package/2006/relationships"><Relationship Id="rId1" Type="http://schemas.openxmlformats.org/officeDocument/2006/relationships/package" Target="../embeddings/Microsoft_Excel_Worksheet1863.xlsx"/></Relationships>
</file>

<file path=ppt/charts/_rels/chart1873.xml.rels><?xml version='1.0' encoding='UTF-8' standalone='yes'?>
<Relationships xmlns="http://schemas.openxmlformats.org/package/2006/relationships"><Relationship Id="rId1"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openxmlformats.org/officeDocument/2006/relationships/package" Target="../embeddings/Microsoft_Excel_Worksheet1875.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5.xml.rels><?xml version='1.0' encoding='UTF-8' standalone='yes'?>
<Relationships xmlns="http://schemas.openxmlformats.org/package/2006/relationships"><Relationship Id="rId1"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openxmlformats.org/officeDocument/2006/relationships/package" Target="../embeddings/Microsoft_Excel_Worksheet1907.xlsx"/></Relationships>
</file>

<file path=ppt/charts/_rels/chart1917.xml.rels><?xml version='1.0' encoding='UTF-8' standalone='yes'?>
<Relationships xmlns="http://schemas.openxmlformats.org/package/2006/relationships"><Relationship Id="rId1"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openxmlformats.org/officeDocument/2006/relationships/package" Target="../embeddings/Microsoft_Excel_Worksheet1917.xlsx"/></Relationships>
</file>

<file path=ppt/charts/_rels/chart1919.xml.rels><?xml version='1.0' encoding='UTF-8' standalone='yes'?>
<Relationships xmlns="http://schemas.openxmlformats.org/package/2006/relationships"><Relationship Id="rId1" Type="http://schemas.openxmlformats.org/officeDocument/2006/relationships/package" Target="../embeddings/Microsoft_Excel_Worksheet1918.xlsx"/></Relationships>
</file>

<file path=ppt/charts/_rels/chart1920.xml.rels><?xml version='1.0' encoding='UTF-8' standalone='yes'?>
<Relationships xmlns="http://schemas.openxmlformats.org/package/2006/relationships"><Relationship Id="rId1" Type="http://schemas.openxmlformats.org/officeDocument/2006/relationships/package" Target="../embeddings/Microsoft_Excel_Worksheet1919.xlsx"/></Relationships>
</file>

<file path=ppt/charts/_rels/chart1931.xml.rels><?xml version='1.0' encoding='UTF-8' standalone='yes'?>
<Relationships xmlns="http://schemas.openxmlformats.org/package/2006/relationships"><Relationship Id="rId1" Type="http://schemas.openxmlformats.org/officeDocument/2006/relationships/package" Target="../embeddings/Microsoft_Excel_Worksheet1930.xlsx"/></Relationships>
</file>

<file path=ppt/charts/_rels/chart1932.xml.rels><?xml version='1.0' encoding='UTF-8' standalone='yes'?>
<Relationships xmlns="http://schemas.openxmlformats.org/package/2006/relationships"><Relationship Id="rId1" Type="http://schemas.openxmlformats.org/officeDocument/2006/relationships/package" Target="../embeddings/Microsoft_Excel_Worksheet1931.xlsx"/></Relationships>
</file>

<file path=ppt/charts/_rels/chart1933.xml.rels><?xml version='1.0' encoding='UTF-8' standalone='yes'?>
<Relationships xmlns="http://schemas.openxmlformats.org/package/2006/relationships"><Relationship Id="rId1"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openxmlformats.org/officeDocument/2006/relationships/package" Target="../embeddings/Microsoft_Excel_Worksheet1933.xlsx"/></Relationships>
</file>

<file path=ppt/charts/_rels/chart1949.xml.rels><?xml version='1.0' encoding='UTF-8' standalone='yes'?>
<Relationships xmlns="http://schemas.openxmlformats.org/package/2006/relationships"><Relationship Id="rId1" Type="http://schemas.openxmlformats.org/officeDocument/2006/relationships/package" Target="../embeddings/Microsoft_Excel_Worksheet1948.xlsx"/></Relationships>
</file>

<file path=ppt/charts/_rels/chart1950.xml.rels><?xml version='1.0' encoding='UTF-8' standalone='yes'?>
<Relationships xmlns="http://schemas.openxmlformats.org/package/2006/relationships"><Relationship Id="rId1" Type="http://schemas.openxmlformats.org/officeDocument/2006/relationships/package" Target="../embeddings/Microsoft_Excel_Worksheet1949.xlsx"/></Relationships>
</file>

<file path=ppt/charts/_rels/chart1961.xml.rels><?xml version='1.0' encoding='UTF-8' standalone='yes'?>
<Relationships xmlns="http://schemas.openxmlformats.org/package/2006/relationships"><Relationship Id="rId1" Type="http://schemas.openxmlformats.org/officeDocument/2006/relationships/package" Target="../embeddings/Microsoft_Excel_Worksheet1960.xlsx"/></Relationships>
</file>

<file path=ppt/charts/_rels/chart1962.xml.rels><?xml version='1.0' encoding='UTF-8' standalone='yes'?>
<Relationships xmlns="http://schemas.openxmlformats.org/package/2006/relationships"><Relationship Id="rId1" Type="http://schemas.openxmlformats.org/officeDocument/2006/relationships/package" Target="../embeddings/Microsoft_Excel_Worksheet1961.xlsx"/></Relationships>
</file>

<file path=ppt/charts/_rels/chart1963.xml.rels><?xml version='1.0' encoding='UTF-8' standalone='yes'?>
<Relationships xmlns="http://schemas.openxmlformats.org/package/2006/relationships"><Relationship Id="rId1" Type="http://schemas.openxmlformats.org/officeDocument/2006/relationships/package" Target="../embeddings/Microsoft_Excel_Worksheet1962.xlsx"/></Relationships>
</file>

<file path=ppt/charts/_rels/chart1964.xml.rels><?xml version='1.0' encoding='UTF-8' standalone='yes'?>
<Relationships xmlns="http://schemas.openxmlformats.org/package/2006/relationships"><Relationship Id="rId1" Type="http://schemas.openxmlformats.org/officeDocument/2006/relationships/package" Target="../embeddings/Microsoft_Excel_Worksheet1963.xlsx"/></Relationships>
</file>

<file path=ppt/charts/_rels/chart1965.xml.rels><?xml version='1.0' encoding='UTF-8' standalone='yes'?>
<Relationships xmlns="http://schemas.openxmlformats.org/package/2006/relationships"><Relationship Id="rId1" Type="http://schemas.openxmlformats.org/officeDocument/2006/relationships/package" Target="../embeddings/Microsoft_Excel_Worksheet1964.xlsx"/></Relationships>
</file>

<file path=ppt/charts/_rels/chart1966.xml.rels><?xml version='1.0' encoding='UTF-8' standalone='yes'?>
<Relationships xmlns="http://schemas.openxmlformats.org/package/2006/relationships"><Relationship Id="rId1" Type="http://schemas.openxmlformats.org/officeDocument/2006/relationships/package" Target="../embeddings/Microsoft_Excel_Worksheet1965.xlsx"/></Relationships>
</file>

<file path=ppt/charts/_rels/chart1975.xml.rels><?xml version='1.0' encoding='UTF-8' standalone='yes'?>
<Relationships xmlns="http://schemas.openxmlformats.org/package/2006/relationships"><Relationship Id="rId1"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openxmlformats.org/officeDocument/2006/relationships/package" Target="../embeddings/Microsoft_Excel_Worksheet1976.xlsx"/></Relationships>
</file>

<file path=ppt/charts/_rels/chart1978.xml.rels><?xml version='1.0' encoding='UTF-8' standalone='yes'?>
<Relationships xmlns="http://schemas.openxmlformats.org/package/2006/relationships"><Relationship Id="rId1" Type="http://schemas.openxmlformats.org/officeDocument/2006/relationships/package" Target="../embeddings/Microsoft_Excel_Worksheet197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1995.xml.rels><?xml version='1.0' encoding='UTF-8' standalone='yes'?>
<Relationships xmlns="http://schemas.openxmlformats.org/package/2006/relationships"><Relationship Id="rId1" Type="http://schemas.openxmlformats.org/officeDocument/2006/relationships/package" Target="../embeddings/Microsoft_Excel_Worksheet1994.xlsx"/></Relationships>
</file>

<file path=ppt/charts/_rels/chart1996.xml.rels><?xml version='1.0' encoding='UTF-8' standalone='yes'?>
<Relationships xmlns="http://schemas.openxmlformats.org/package/2006/relationships"><Relationship Id="rId1"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openxmlformats.org/officeDocument/2006/relationships/package" Target="../embeddings/Microsoft_Excel_Worksheet1997.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25.xml.rels><?xml version='1.0' encoding='UTF-8' standalone='yes'?>
<Relationships xmlns="http://schemas.openxmlformats.org/package/2006/relationships"><Relationship Id="rId1" Type="http://schemas.openxmlformats.org/officeDocument/2006/relationships/package" Target="../embeddings/Microsoft_Excel_Worksheet2024.xlsx"/></Relationships>
</file>

<file path=ppt/charts/_rels/chart2026.xml.rels><?xml version='1.0' encoding='UTF-8' standalone='yes'?>
<Relationships xmlns="http://schemas.openxmlformats.org/package/2006/relationships"><Relationship Id="rId1" Type="http://schemas.openxmlformats.org/officeDocument/2006/relationships/package" Target="../embeddings/Microsoft_Excel_Worksheet2025.xlsx"/></Relationships>
</file>

<file path=ppt/charts/_rels/chart2027.xml.rels><?xml version='1.0' encoding='UTF-8' standalone='yes'?>
<Relationships xmlns="http://schemas.openxmlformats.org/package/2006/relationships"><Relationship Id="rId1" Type="http://schemas.openxmlformats.org/officeDocument/2006/relationships/package" Target="../embeddings/Microsoft_Excel_Worksheet2026.xlsx"/></Relationships>
</file>

<file path=ppt/charts/_rels/chart2028.xml.rels><?xml version='1.0' encoding='UTF-8' standalone='yes'?>
<Relationships xmlns="http://schemas.openxmlformats.org/package/2006/relationships"><Relationship Id="rId1" Type="http://schemas.openxmlformats.org/officeDocument/2006/relationships/package" Target="../embeddings/Microsoft_Excel_Worksheet2027.xlsx"/></Relationships>
</file>

<file path=ppt/charts/_rels/chart2039.xml.rels><?xml version='1.0' encoding='UTF-8' standalone='yes'?>
<Relationships xmlns="http://schemas.openxmlformats.org/package/2006/relationships"><Relationship Id="rId1"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openxmlformats.org/officeDocument/2006/relationships/package" Target="../embeddings/Microsoft_Excel_Worksheet2041.xlsx"/></Relationships>
</file>

<file path=ppt/charts/_rels/chart2051.xml.rels><?xml version='1.0' encoding='UTF-8' standalone='yes'?>
<Relationships xmlns="http://schemas.openxmlformats.org/package/2006/relationships"><Relationship Id="rId1"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openxmlformats.org/officeDocument/2006/relationships/package" Target="../embeddings/Microsoft_Excel_Worksheet2051.xlsx"/></Relationships>
</file>

<file path=ppt/charts/_rels/chart2053.xml.rels><?xml version='1.0' encoding='UTF-8' standalone='yes'?>
<Relationships xmlns="http://schemas.openxmlformats.org/package/2006/relationships"><Relationship Id="rId1" Type="http://schemas.openxmlformats.org/officeDocument/2006/relationships/package" Target="../embeddings/Microsoft_Excel_Worksheet2052.xlsx"/></Relationships>
</file>

<file path=ppt/charts/_rels/chart2054.xml.rels><?xml version='1.0' encoding='UTF-8' standalone='yes'?>
<Relationships xmlns="http://schemas.openxmlformats.org/package/2006/relationships"><Relationship Id="rId1" Type="http://schemas.openxmlformats.org/officeDocument/2006/relationships/package" Target="../embeddings/Microsoft_Excel_Worksheet2053.xlsx"/></Relationships>
</file>

<file path=ppt/charts/_rels/chart2055.xml.rels><?xml version='1.0' encoding='UTF-8' standalone='yes'?>
<Relationships xmlns="http://schemas.openxmlformats.org/package/2006/relationships"><Relationship Id="rId1" Type="http://schemas.openxmlformats.org/officeDocument/2006/relationships/package" Target="../embeddings/Microsoft_Excel_Worksheet2054.xlsx"/></Relationships>
</file>

<file path=ppt/charts/_rels/chart2056.xml.rels><?xml version='1.0' encoding='UTF-8' standalone='yes'?>
<Relationships xmlns="http://schemas.openxmlformats.org/package/2006/relationships"><Relationship Id="rId1" Type="http://schemas.openxmlformats.org/officeDocument/2006/relationships/package" Target="../embeddings/Microsoft_Excel_Worksheet2055.xlsx"/></Relationships>
</file>

<file path=ppt/charts/_rels/chart2069.xml.rels><?xml version='1.0' encoding='UTF-8' standalone='yes'?>
<Relationships xmlns="http://schemas.openxmlformats.org/package/2006/relationships"><Relationship Id="rId1" Type="http://schemas.openxmlformats.org/officeDocument/2006/relationships/package" Target="../embeddings/Microsoft_Excel_Worksheet2068.xlsx"/></Relationships>
</file>

<file path=ppt/charts/_rels/chart2070.xml.rels><?xml version='1.0' encoding='UTF-8' standalone='yes'?>
<Relationships xmlns="http://schemas.openxmlformats.org/package/2006/relationships"><Relationship Id="rId1" Type="http://schemas.openxmlformats.org/officeDocument/2006/relationships/package" Target="../embeddings/Microsoft_Excel_Worksheet2069.xlsx"/></Relationships>
</file>

<file path=ppt/charts/_rels/chart2083.xml.rels><?xml version='1.0' encoding='UTF-8' standalone='yes'?>
<Relationships xmlns="http://schemas.openxmlformats.org/package/2006/relationships"><Relationship Id="rId1"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openxmlformats.org/officeDocument/2006/relationships/package" Target="../embeddings/Microsoft_Excel_Worksheet2083.xlsx"/></Relationships>
</file>

<file path=ppt/charts/_rels/chart2085.xml.rels><?xml version='1.0' encoding='UTF-8' standalone='yes'?>
<Relationships xmlns="http://schemas.openxmlformats.org/package/2006/relationships"><Relationship Id="rId1" Type="http://schemas.openxmlformats.org/officeDocument/2006/relationships/package" Target="../embeddings/Microsoft_Excel_Worksheet2084.xlsx"/></Relationships>
</file>

<file path=ppt/charts/_rels/chart2086.xml.rels><?xml version='1.0' encoding='UTF-8' standalone='yes'?>
<Relationships xmlns="http://schemas.openxmlformats.org/package/2006/relationships"><Relationship Id="rId1" Type="http://schemas.openxmlformats.org/officeDocument/2006/relationships/package" Target="../embeddings/Microsoft_Excel_Worksheet2085.xlsx"/></Relationships>
</file>

<file path=ppt/charts/_rels/chart2095.xml.rels><?xml version='1.0' encoding='UTF-8' standalone='yes'?>
<Relationships xmlns="http://schemas.openxmlformats.org/package/2006/relationships"><Relationship Id="rId1" Type="http://schemas.openxmlformats.org/officeDocument/2006/relationships/package" Target="../embeddings/Microsoft_Excel_Worksheet2094.xlsx"/></Relationships>
</file>

<file path=ppt/charts/_rels/chart2096.xml.rels><?xml version='1.0' encoding='UTF-8' standalone='yes'?>
<Relationships xmlns="http://schemas.openxmlformats.org/package/2006/relationships"><Relationship Id="rId1" Type="http://schemas.openxmlformats.org/officeDocument/2006/relationships/package" Target="../embeddings/Microsoft_Excel_Worksheet2095.xlsx"/></Relationships>
</file>

<file path=ppt/charts/_rels/chart2097.xml.rels><?xml version='1.0' encoding='UTF-8' standalone='yes'?>
<Relationships xmlns="http://schemas.openxmlformats.org/package/2006/relationships"><Relationship Id="rId1" Type="http://schemas.openxmlformats.org/officeDocument/2006/relationships/package" Target="../embeddings/Microsoft_Excel_Worksheet2096.xlsx"/></Relationships>
</file>

<file path=ppt/charts/_rels/chart2098.xml.rels><?xml version='1.0' encoding='UTF-8' standalone='yes'?>
<Relationships xmlns="http://schemas.openxmlformats.org/package/2006/relationships"><Relationship Id="rId1"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package" Target="../embeddings/Microsoft_Excel_Worksheet2099.xlsx"/></Relationships>
</file>

<file path=ppt/charts/_rels/chart2111.xml.rels><?xml version='1.0' encoding='UTF-8' standalone='yes'?>
<Relationships xmlns="http://schemas.openxmlformats.org/package/2006/relationships"><Relationship Id="rId1" Type="http://schemas.openxmlformats.org/officeDocument/2006/relationships/package" Target="../embeddings/Microsoft_Excel_Worksheet2110.xlsx"/></Relationships>
</file>

<file path=ppt/charts/_rels/chart2112.xml.rels><?xml version='1.0' encoding='UTF-8' standalone='yes'?>
<Relationships xmlns="http://schemas.openxmlformats.org/package/2006/relationships"><Relationship Id="rId1" Type="http://schemas.openxmlformats.org/officeDocument/2006/relationships/package" Target="../embeddings/Microsoft_Excel_Worksheet2111.xlsx"/></Relationships>
</file>

<file path=ppt/charts/_rels/chart2127.xml.rels><?xml version='1.0' encoding='UTF-8' standalone='yes'?>
<Relationships xmlns="http://schemas.openxmlformats.org/package/2006/relationships"><Relationship Id="rId1" Type="http://schemas.openxmlformats.org/officeDocument/2006/relationships/package" Target="../embeddings/Microsoft_Excel_Worksheet2126.xlsx"/></Relationships>
</file>

<file path=ppt/charts/_rels/chart2128.xml.rels><?xml version='1.0' encoding='UTF-8' standalone='yes'?>
<Relationships xmlns="http://schemas.openxmlformats.org/package/2006/relationships"><Relationship Id="rId1"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openxmlformats.org/officeDocument/2006/relationships/package" Target="../embeddings/Microsoft_Excel_Worksheet2129.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41.xml.rels><?xml version='1.0' encoding='UTF-8' standalone='yes'?>
<Relationships xmlns="http://schemas.openxmlformats.org/package/2006/relationships"><Relationship Id="rId1"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openxmlformats.org/officeDocument/2006/relationships/package" Target="../embeddings/Microsoft_Excel_Worksheet214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3.xml.rels><?xml version='1.0' encoding='UTF-8' standalone='yes'?>
<Relationships xmlns="http://schemas.openxmlformats.org/package/2006/relationships"><Relationship Id="rId1" Type="http://schemas.openxmlformats.org/officeDocument/2006/relationships/package" Target="../embeddings/Microsoft_Excel_Worksheet2152.xlsx"/></Relationships>
</file>

<file path=ppt/charts/_rels/chart2154.xml.rels><?xml version='1.0' encoding='UTF-8' standalone='yes'?>
<Relationships xmlns="http://schemas.openxmlformats.org/package/2006/relationships"><Relationship Id="rId1" Type="http://schemas.openxmlformats.org/officeDocument/2006/relationships/package" Target="../embeddings/Microsoft_Excel_Worksheet2153.xlsx"/></Relationships>
</file>

<file path=ppt/charts/_rels/chart2155.xml.rels><?xml version='1.0' encoding='UTF-8' standalone='yes'?>
<Relationships xmlns="http://schemas.openxmlformats.org/package/2006/relationships"><Relationship Id="rId1"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openxmlformats.org/officeDocument/2006/relationships/package" Target="../embeddings/Microsoft_Excel_Worksheet2155.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85.xml.rels><?xml version='1.0' encoding='UTF-8' standalone='yes'?>
<Relationships xmlns="http://schemas.openxmlformats.org/package/2006/relationships"><Relationship Id="rId1" Type="http://schemas.openxmlformats.org/officeDocument/2006/relationships/package" Target="../embeddings/Microsoft_Excel_Worksheet2184.xlsx"/></Relationships>
</file>

<file path=ppt/charts/_rels/chart2186.xml.rels><?xml version='1.0' encoding='UTF-8' standalone='yes'?>
<Relationships xmlns="http://schemas.openxmlformats.org/package/2006/relationships"><Relationship Id="rId1" Type="http://schemas.openxmlformats.org/officeDocument/2006/relationships/package" Target="../embeddings/Microsoft_Excel_Worksheet2185.xlsx"/></Relationships>
</file>

<file path=ppt/charts/_rels/chart2187.xml.rels><?xml version='1.0' encoding='UTF-8' standalone='yes'?>
<Relationships xmlns="http://schemas.openxmlformats.org/package/2006/relationships"><Relationship Id="rId1"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openxmlformats.org/officeDocument/2006/relationships/package" Target="../embeddings/Microsoft_Excel_Worksheet2187.xlsx"/></Relationships>
</file>

<file path=ppt/charts/_rels/chart2203.xml.rels><?xml version='1.0' encoding='UTF-8' standalone='yes'?>
<Relationships xmlns="http://schemas.openxmlformats.org/package/2006/relationships"><Relationship Id="rId1" Type="http://schemas.openxmlformats.org/officeDocument/2006/relationships/package" Target="../embeddings/Microsoft_Excel_Worksheet2202.xlsx"/></Relationships>
</file>

<file path=ppt/charts/_rels/chart2204.xml.rels><?xml version='1.0' encoding='UTF-8' standalone='yes'?>
<Relationships xmlns="http://schemas.openxmlformats.org/package/2006/relationships"><Relationship Id="rId1" Type="http://schemas.openxmlformats.org/officeDocument/2006/relationships/package" Target="../embeddings/Microsoft_Excel_Worksheet2203.xlsx"/></Relationships>
</file>

<file path=ppt/charts/_rels/chart2205.xml.rels><?xml version='1.0' encoding='UTF-8' standalone='yes'?>
<Relationships xmlns="http://schemas.openxmlformats.org/package/2006/relationships"><Relationship Id="rId1" Type="http://schemas.openxmlformats.org/officeDocument/2006/relationships/package" Target="../embeddings/Microsoft_Excel_Worksheet2204.xlsx"/></Relationships>
</file>

<file path=ppt/charts/_rels/chart2206.xml.rels><?xml version='1.0' encoding='UTF-8' standalone='yes'?>
<Relationships xmlns="http://schemas.openxmlformats.org/package/2006/relationships"><Relationship Id="rId1" Type="http://schemas.openxmlformats.org/officeDocument/2006/relationships/package" Target="../embeddings/Microsoft_Excel_Worksheet2205.xlsx"/></Relationships>
</file>

<file path=ppt/charts/_rels/chart2217.xml.rels><?xml version='1.0' encoding='UTF-8' standalone='yes'?>
<Relationships xmlns="http://schemas.openxmlformats.org/package/2006/relationships"><Relationship Id="rId1" Type="http://schemas.openxmlformats.org/officeDocument/2006/relationships/package" Target="../embeddings/Microsoft_Excel_Worksheet2216.xlsx"/></Relationships>
</file>

<file path=ppt/charts/_rels/chart2218.xml.rels><?xml version='1.0' encoding='UTF-8' standalone='yes'?>
<Relationships xmlns="http://schemas.openxmlformats.org/package/2006/relationships"><Relationship Id="rId1" Type="http://schemas.openxmlformats.org/officeDocument/2006/relationships/package" Target="../embeddings/Microsoft_Excel_Worksheet2217.xlsx"/></Relationships>
</file>

<file path=ppt/charts/_rels/chart2219.xml.rels><?xml version='1.0' encoding='UTF-8' standalone='yes'?>
<Relationships xmlns="http://schemas.openxmlformats.org/package/2006/relationships"><Relationship Id="rId1" Type="http://schemas.openxmlformats.org/officeDocument/2006/relationships/package" Target="../embeddings/Microsoft_Excel_Worksheet2218.xlsx"/></Relationships>
</file>

<file path=ppt/charts/_rels/chart2220.xml.rels><?xml version='1.0' encoding='UTF-8' standalone='yes'?>
<Relationships xmlns="http://schemas.openxmlformats.org/package/2006/relationships"><Relationship Id="rId1" Type="http://schemas.openxmlformats.org/officeDocument/2006/relationships/package" Target="../embeddings/Microsoft_Excel_Worksheet2219.xlsx"/></Relationships>
</file>

<file path=ppt/charts/_rels/chart2231.xml.rels><?xml version='1.0' encoding='UTF-8' standalone='yes'?>
<Relationships xmlns="http://schemas.openxmlformats.org/package/2006/relationships"><Relationship Id="rId1" Type="http://schemas.openxmlformats.org/officeDocument/2006/relationships/package" Target="../embeddings/Microsoft_Excel_Worksheet2230.xlsx"/></Relationships>
</file>

<file path=ppt/charts/_rels/chart2232.xml.rels><?xml version='1.0' encoding='UTF-8' standalone='yes'?>
<Relationships xmlns="http://schemas.openxmlformats.org/package/2006/relationships"><Relationship Id="rId1" Type="http://schemas.openxmlformats.org/officeDocument/2006/relationships/package" Target="../embeddings/Microsoft_Excel_Worksheet2231.xlsx"/></Relationships>
</file>

<file path=ppt/charts/_rels/chart2233.xml.rels><?xml version='1.0' encoding='UTF-8' standalone='yes'?>
<Relationships xmlns="http://schemas.openxmlformats.org/package/2006/relationships"><Relationship Id="rId1" Type="http://schemas.openxmlformats.org/officeDocument/2006/relationships/package" Target="../embeddings/Microsoft_Excel_Worksheet2232.xlsx"/></Relationships>
</file>

<file path=ppt/charts/_rels/chart2234.xml.rels><?xml version='1.0' encoding='UTF-8' standalone='yes'?>
<Relationships xmlns="http://schemas.openxmlformats.org/package/2006/relationships"><Relationship Id="rId1" Type="http://schemas.openxmlformats.org/officeDocument/2006/relationships/package" Target="../embeddings/Microsoft_Excel_Worksheet2233.xlsx"/></Relationships>
</file>

<file path=ppt/charts/_rels/chart2247.xml.rels><?xml version='1.0' encoding='UTF-8' standalone='yes'?>
<Relationships xmlns="http://schemas.openxmlformats.org/package/2006/relationships"><Relationship Id="rId1" Type="http://schemas.openxmlformats.org/officeDocument/2006/relationships/package" Target="../embeddings/Microsoft_Excel_Worksheet2246.xlsx"/></Relationships>
</file>

<file path=ppt/charts/_rels/chart2248.xml.rels><?xml version='1.0' encoding='UTF-8' standalone='yes'?>
<Relationships xmlns="http://schemas.openxmlformats.org/package/2006/relationships"><Relationship Id="rId1" Type="http://schemas.openxmlformats.org/officeDocument/2006/relationships/package" Target="../embeddings/Microsoft_Excel_Worksheet2247.xlsx"/></Relationships>
</file>

<file path=ppt/charts/_rels/chart2249.xml.rels><?xml version='1.0' encoding='UTF-8' standalone='yes'?>
<Relationships xmlns="http://schemas.openxmlformats.org/package/2006/relationships"><Relationship Id="rId1" Type="http://schemas.openxmlformats.org/officeDocument/2006/relationships/package" Target="../embeddings/Microsoft_Excel_Worksheet2248.xlsx"/></Relationships>
</file>

<file path=ppt/charts/_rels/chart2250.xml.rels><?xml version='1.0' encoding='UTF-8' standalone='yes'?>
<Relationships xmlns="http://schemas.openxmlformats.org/package/2006/relationships"><Relationship Id="rId1" Type="http://schemas.openxmlformats.org/officeDocument/2006/relationships/package" Target="../embeddings/Microsoft_Excel_Worksheet2249.xlsx"/></Relationships>
</file>

<file path=ppt/charts/_rels/chart2261.xml.rels><?xml version='1.0' encoding='UTF-8' standalone='yes'?>
<Relationships xmlns="http://schemas.openxmlformats.org/package/2006/relationships"><Relationship Id="rId1" Type="http://schemas.openxmlformats.org/officeDocument/2006/relationships/package" Target="../embeddings/Microsoft_Excel_Worksheet2260.xlsx"/></Relationships>
</file>

<file path=ppt/charts/_rels/chart2262.xml.rels><?xml version='1.0' encoding='UTF-8' standalone='yes'?>
<Relationships xmlns="http://schemas.openxmlformats.org/package/2006/relationships"><Relationship Id="rId1" Type="http://schemas.openxmlformats.org/officeDocument/2006/relationships/package" Target="../embeddings/Microsoft_Excel_Worksheet2261.xlsx"/></Relationships>
</file>

<file path=ppt/charts/_rels/chart2263.xml.rels><?xml version='1.0' encoding='UTF-8' standalone='yes'?>
<Relationships xmlns="http://schemas.openxmlformats.org/package/2006/relationships"><Relationship Id="rId1" Type="http://schemas.openxmlformats.org/officeDocument/2006/relationships/package" Target="../embeddings/Microsoft_Excel_Worksheet2262.xlsx"/></Relationships>
</file>

<file path=ppt/charts/_rels/chart2264.xml.rels><?xml version='1.0' encoding='UTF-8' standalone='yes'?>
<Relationships xmlns="http://schemas.openxmlformats.org/package/2006/relationships"><Relationship Id="rId1" Type="http://schemas.openxmlformats.org/officeDocument/2006/relationships/package" Target="../embeddings/Microsoft_Excel_Worksheet2263.xlsx"/></Relationships>
</file>

<file path=ppt/charts/_rels/chart2275.xml.rels><?xml version='1.0' encoding='UTF-8' standalone='yes'?>
<Relationships xmlns="http://schemas.openxmlformats.org/package/2006/relationships"><Relationship Id="rId1"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openxmlformats.org/officeDocument/2006/relationships/package" Target="../embeddings/Microsoft_Excel_Worksheet2277.xlsx"/></Relationships>
</file>

<file path=ppt/charts/_rels/chart2305.xml.rels><?xml version='1.0' encoding='UTF-8' standalone='yes'?>
<Relationships xmlns="http://schemas.openxmlformats.org/package/2006/relationships"><Relationship Id="rId1"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openxmlformats.org/officeDocument/2006/relationships/package" Target="../embeddings/Microsoft_Excel_Worksheet2306.xlsx"/></Relationships>
</file>

<file path=ppt/charts/_rels/chart2308.xml.rels><?xml version='1.0' encoding='UTF-8' standalone='yes'?>
<Relationships xmlns="http://schemas.openxmlformats.org/package/2006/relationships"><Relationship Id="rId1" Type="http://schemas.openxmlformats.org/officeDocument/2006/relationships/package" Target="../embeddings/Microsoft_Excel_Worksheet2307.xlsx"/></Relationships>
</file>

<file path=ppt/charts/_rels/chart2319.xml.rels><?xml version='1.0' encoding='UTF-8' standalone='yes'?>
<Relationships xmlns="http://schemas.openxmlformats.org/package/2006/relationships"><Relationship Id="rId1" Type="http://schemas.openxmlformats.org/officeDocument/2006/relationships/package" Target="../embeddings/Microsoft_Excel_Worksheet2318.xlsx"/></Relationships>
</file>

<file path=ppt/charts/_rels/chart2320.xml.rels><?xml version='1.0' encoding='UTF-8' standalone='yes'?>
<Relationships xmlns="http://schemas.openxmlformats.org/package/2006/relationships"><Relationship Id="rId1" Type="http://schemas.openxmlformats.org/officeDocument/2006/relationships/package" Target="../embeddings/Microsoft_Excel_Worksheet2319.xlsx"/></Relationships>
</file>

<file path=ppt/charts/_rels/chart2321.xml.rels><?xml version='1.0' encoding='UTF-8' standalone='yes'?>
<Relationships xmlns="http://schemas.openxmlformats.org/package/2006/relationships"><Relationship Id="rId1" Type="http://schemas.openxmlformats.org/officeDocument/2006/relationships/package" Target="../embeddings/Microsoft_Excel_Worksheet2320.xlsx"/></Relationships>
</file>

<file path=ppt/charts/_rels/chart2322.xml.rels><?xml version='1.0' encoding='UTF-8' standalone='yes'?>
<Relationships xmlns="http://schemas.openxmlformats.org/package/2006/relationships"><Relationship Id="rId1" Type="http://schemas.openxmlformats.org/officeDocument/2006/relationships/package" Target="../embeddings/Microsoft_Excel_Worksheet2321.xlsx"/></Relationships>
</file>

<file path=ppt/charts/_rels/chart2331.xml.rels><?xml version='1.0' encoding='UTF-8' standalone='yes'?>
<Relationships xmlns="http://schemas.openxmlformats.org/package/2006/relationships"><Relationship Id="rId1" Type="http://schemas.openxmlformats.org/officeDocument/2006/relationships/package" Target="../embeddings/Microsoft_Excel_Worksheet2330.xlsx"/></Relationships>
</file>

<file path=ppt/charts/_rels/chart2332.xml.rels><?xml version='1.0' encoding='UTF-8' standalone='yes'?>
<Relationships xmlns="http://schemas.openxmlformats.org/package/2006/relationships"><Relationship Id="rId1"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openxmlformats.org/officeDocument/2006/relationships/package" Target="../embeddings/Microsoft_Excel_Worksheet2335.xlsx"/></Relationships>
</file>

<file path=ppt/charts/_rels/chart2349.xml.rels><?xml version='1.0' encoding='UTF-8' standalone='yes'?>
<Relationships xmlns="http://schemas.openxmlformats.org/package/2006/relationships"><Relationship Id="rId1" Type="http://schemas.openxmlformats.org/officeDocument/2006/relationships/package" Target="../embeddings/Microsoft_Excel_Worksheet2348.xlsx"/></Relationships>
</file>

<file path=ppt/charts/_rels/chart2350.xml.rels><?xml version='1.0' encoding='UTF-8' standalone='yes'?>
<Relationships xmlns="http://schemas.openxmlformats.org/package/2006/relationships"><Relationship Id="rId1" Type="http://schemas.openxmlformats.org/officeDocument/2006/relationships/package" Target="../embeddings/Microsoft_Excel_Worksheet2349.xlsx"/></Relationships>
</file>

<file path=ppt/charts/_rels/chart2363.xml.rels><?xml version='1.0' encoding='UTF-8' standalone='yes'?>
<Relationships xmlns="http://schemas.openxmlformats.org/package/2006/relationships"><Relationship Id="rId1"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openxmlformats.org/officeDocument/2006/relationships/package" Target="../embeddings/Microsoft_Excel_Worksheet2365.xlsx"/></Relationships>
</file>

<file path=ppt/charts/_rels/chart2375.xml.rels><?xml version='1.0' encoding='UTF-8' standalone='yes'?>
<Relationships xmlns="http://schemas.openxmlformats.org/package/2006/relationships"><Relationship Id="rId1" Type="http://schemas.openxmlformats.org/officeDocument/2006/relationships/package" Target="../embeddings/Microsoft_Excel_Worksheet2374.xlsx"/></Relationships>
</file>

<file path=ppt/charts/_rels/chart2376.xml.rels><?xml version='1.0' encoding='UTF-8' standalone='yes'?>
<Relationships xmlns="http://schemas.openxmlformats.org/package/2006/relationships"><Relationship Id="rId1" Type="http://schemas.openxmlformats.org/officeDocument/2006/relationships/package" Target="../embeddings/Microsoft_Excel_Worksheet2375.xlsx"/></Relationships>
</file>

<file path=ppt/charts/_rels/chart2377.xml.rels><?xml version='1.0' encoding='UTF-8' standalone='yes'?>
<Relationships xmlns="http://schemas.openxmlformats.org/package/2006/relationships"><Relationship Id="rId1" Type="http://schemas.openxmlformats.org/officeDocument/2006/relationships/package" Target="../embeddings/Microsoft_Excel_Worksheet2376.xlsx"/></Relationships>
</file>

<file path=ppt/charts/_rels/chart2378.xml.rels><?xml version='1.0' encoding='UTF-8' standalone='yes'?>
<Relationships xmlns="http://schemas.openxmlformats.org/package/2006/relationships"><Relationship Id="rId1" Type="http://schemas.openxmlformats.org/officeDocument/2006/relationships/package" Target="../embeddings/Microsoft_Excel_Worksheet2377.xlsx"/></Relationships>
</file>

<file path=ppt/charts/_rels/chart2379.xml.rels><?xml version='1.0' encoding='UTF-8' standalone='yes'?>
<Relationships xmlns="http://schemas.openxmlformats.org/package/2006/relationships"><Relationship Id="rId1" Type="http://schemas.openxmlformats.org/officeDocument/2006/relationships/package" Target="../embeddings/Microsoft_Excel_Worksheet2378.xlsx"/></Relationships>
</file>

<file path=ppt/charts/_rels/chart2380.xml.rels><?xml version='1.0' encoding='UTF-8' standalone='yes'?>
<Relationships xmlns="http://schemas.openxmlformats.org/package/2006/relationships"><Relationship Id="rId1" Type="http://schemas.openxmlformats.org/officeDocument/2006/relationships/package" Target="../embeddings/Microsoft_Excel_Worksheet2379.xlsx"/></Relationships>
</file>

<file path=ppt/charts/_rels/chart2395.xml.rels><?xml version='1.0' encoding='UTF-8' standalone='yes'?>
<Relationships xmlns="http://schemas.openxmlformats.org/package/2006/relationships"><Relationship Id="rId1" Type="http://schemas.openxmlformats.org/officeDocument/2006/relationships/package" Target="../embeddings/Microsoft_Excel_Worksheet2394.xlsx"/></Relationships>
</file>

<file path=ppt/charts/_rels/chart2396.xml.rels><?xml version='1.0' encoding='UTF-8' standalone='yes'?>
<Relationships xmlns="http://schemas.openxmlformats.org/package/2006/relationships"><Relationship Id="rId1" Type="http://schemas.openxmlformats.org/officeDocument/2006/relationships/package" Target="../embeddings/Microsoft_Excel_Worksheet2395.xlsx"/></Relationships>
</file>

<file path=ppt/charts/_rels/chart2397.xml.rels><?xml version='1.0' encoding='UTF-8' standalone='yes'?>
<Relationships xmlns="http://schemas.openxmlformats.org/package/2006/relationships"><Relationship Id="rId1" Type="http://schemas.openxmlformats.org/officeDocument/2006/relationships/package" Target="../embeddings/Microsoft_Excel_Worksheet2396.xlsx"/></Relationships>
</file>

<file path=ppt/charts/_rels/chart2398.xml.rels><?xml version='1.0' encoding='UTF-8' standalone='yes'?>
<Relationships xmlns="http://schemas.openxmlformats.org/package/2006/relationships"><Relationship Id="rId1" Type="http://schemas.openxmlformats.org/officeDocument/2006/relationships/package" Target="../embeddings/Microsoft_Excel_Worksheet2397.xlsx"/></Relationships>
</file>

<file path=ppt/charts/_rels/chart2411.xml.rels><?xml version='1.0' encoding='UTF-8' standalone='yes'?>
<Relationships xmlns="http://schemas.openxmlformats.org/package/2006/relationships"><Relationship Id="rId1" Type="http://schemas.openxmlformats.org/officeDocument/2006/relationships/package" Target="../embeddings/Microsoft_Excel_Worksheet2410.xlsx"/></Relationships>
</file>

<file path=ppt/charts/_rels/chart2412.xml.rels><?xml version='1.0' encoding='UTF-8' standalone='yes'?>
<Relationships xmlns="http://schemas.openxmlformats.org/package/2006/relationships"><Relationship Id="rId1" Type="http://schemas.openxmlformats.org/officeDocument/2006/relationships/package" Target="../embeddings/Microsoft_Excel_Worksheet2411.xlsx"/></Relationships>
</file>

<file path=ppt/charts/_rels/chart2425.xml.rels><?xml version='1.0' encoding='UTF-8' standalone='yes'?>
<Relationships xmlns="http://schemas.openxmlformats.org/package/2006/relationships"><Relationship Id="rId1" Type="http://schemas.openxmlformats.org/officeDocument/2006/relationships/package" Target="../embeddings/Microsoft_Excel_Worksheet2424.xlsx"/></Relationships>
</file>

<file path=ppt/charts/_rels/chart2427.xml.rels><?xml version='1.0' encoding='UTF-8' standalone='yes'?>
<Relationships xmlns="http://schemas.openxmlformats.org/package/2006/relationships"><Relationship Id="rId1"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30.xml.rels><?xml version='1.0' encoding='UTF-8' standalone='yes'?>
<Relationships xmlns="http://schemas.openxmlformats.org/package/2006/relationships"><Relationship Id="rId1" Type="http://schemas.openxmlformats.org/officeDocument/2006/relationships/package" Target="../embeddings/Microsoft_Excel_Worksheet2429.xlsx"/></Relationships>
</file>

<file path=ppt/charts/_rels/chart2439.xml.rels><?xml version='1.0' encoding='UTF-8' standalone='yes'?>
<Relationships xmlns="http://schemas.openxmlformats.org/package/2006/relationships"><Relationship Id="rId1" Type="http://schemas.openxmlformats.org/officeDocument/2006/relationships/package" Target="../embeddings/Microsoft_Excel_Worksheet2438.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40.xml.rels><?xml version='1.0' encoding='UTF-8' standalone='yes'?>
<Relationships xmlns="http://schemas.openxmlformats.org/package/2006/relationships"><Relationship Id="rId1" Type="http://schemas.openxmlformats.org/officeDocument/2006/relationships/package" Target="../embeddings/Microsoft_Excel_Worksheet2439.xlsx"/></Relationships>
</file>

<file path=ppt/charts/_rels/chart2441.xml.rels><?xml version='1.0' encoding='UTF-8' standalone='yes'?>
<Relationships xmlns="http://schemas.openxmlformats.org/package/2006/relationships"><Relationship Id="rId1" Type="http://schemas.openxmlformats.org/officeDocument/2006/relationships/package" Target="../embeddings/Microsoft_Excel_Worksheet2440.xlsx"/></Relationships>
</file>

<file path=ppt/charts/_rels/chart2442.xml.rels><?xml version='1.0' encoding='UTF-8' standalone='yes'?>
<Relationships xmlns="http://schemas.openxmlformats.org/package/2006/relationships"><Relationship Id="rId1" Type="http://schemas.openxmlformats.org/officeDocument/2006/relationships/package" Target="../embeddings/Microsoft_Excel_Worksheet2441.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53.xml.rels><?xml version='1.0' encoding='UTF-8' standalone='yes'?>
<Relationships xmlns="http://schemas.openxmlformats.org/package/2006/relationships"><Relationship Id="rId1" Type="http://schemas.openxmlformats.org/officeDocument/2006/relationships/package" Target="../embeddings/Microsoft_Excel_Worksheet2452.xlsx"/></Relationships>
</file>

<file path=ppt/charts/_rels/chart2454.xml.rels><?xml version='1.0' encoding='UTF-8' standalone='yes'?>
<Relationships xmlns="http://schemas.openxmlformats.org/package/2006/relationships"><Relationship Id="rId1" Type="http://schemas.openxmlformats.org/officeDocument/2006/relationships/package" Target="../embeddings/Microsoft_Excel_Worksheet2453.xlsx"/></Relationships>
</file>

<file path=ppt/charts/_rels/chart2455.xml.rels><?xml version='1.0' encoding='UTF-8' standalone='yes'?>
<Relationships xmlns="http://schemas.openxmlformats.org/package/2006/relationships"><Relationship Id="rId1" Type="http://schemas.openxmlformats.org/officeDocument/2006/relationships/package" Target="../embeddings/Microsoft_Excel_Worksheet2454.xlsx"/></Relationships>
</file>

<file path=ppt/charts/_rels/chart2456.xml.rels><?xml version='1.0' encoding='UTF-8' standalone='yes'?>
<Relationships xmlns="http://schemas.openxmlformats.org/package/2006/relationships"><Relationship Id="rId1" Type="http://schemas.openxmlformats.org/officeDocument/2006/relationships/package" Target="../embeddings/Microsoft_Excel_Worksheet2455.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83.xml.rels><?xml version='1.0' encoding='UTF-8' standalone='yes'?>
<Relationships xmlns="http://schemas.openxmlformats.org/package/2006/relationships"><Relationship Id="rId1" Type="http://schemas.openxmlformats.org/officeDocument/2006/relationships/package" Target="../embeddings/Microsoft_Excel_Worksheet2482.xlsx"/></Relationships>
</file>

<file path=ppt/charts/_rels/chart2484.xml.rels><?xml version='1.0' encoding='UTF-8' standalone='yes'?>
<Relationships xmlns="http://schemas.openxmlformats.org/package/2006/relationships"><Relationship Id="rId1" Type="http://schemas.openxmlformats.org/officeDocument/2006/relationships/package" Target="../embeddings/Microsoft_Excel_Worksheet2483.xlsx"/></Relationships>
</file>

<file path=ppt/charts/_rels/chart2485.xml.rels><?xml version='1.0' encoding='UTF-8' standalone='yes'?>
<Relationships xmlns="http://schemas.openxmlformats.org/package/2006/relationships"><Relationship Id="rId1" Type="http://schemas.openxmlformats.org/officeDocument/2006/relationships/package" Target="../embeddings/Microsoft_Excel_Worksheet2484.xlsx"/></Relationships>
</file>

<file path=ppt/charts/_rels/chart2486.xml.rels><?xml version='1.0' encoding='UTF-8' standalone='yes'?>
<Relationships xmlns="http://schemas.openxmlformats.org/package/2006/relationships"><Relationship Id="rId1" Type="http://schemas.openxmlformats.org/officeDocument/2006/relationships/package" Target="../embeddings/Microsoft_Excel_Worksheet2485.xlsx"/></Relationships>
</file>

<file path=ppt/charts/_rels/chart2497.xml.rels><?xml version='1.0' encoding='UTF-8' standalone='yes'?>
<Relationships xmlns="http://schemas.openxmlformats.org/package/2006/relationships"><Relationship Id="rId1"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openxmlformats.org/officeDocument/2006/relationships/package" Target="../embeddings/Microsoft_Excel_Worksheet2498.xlsx"/></Relationships>
</file>

<file path=ppt/charts/_rels/chart2500.xml.rels><?xml version='1.0' encoding='UTF-8' standalone='yes'?>
<Relationships xmlns="http://schemas.openxmlformats.org/package/2006/relationships"><Relationship Id="rId1" Type="http://schemas.openxmlformats.org/officeDocument/2006/relationships/package" Target="../embeddings/Microsoft_Excel_Worksheet2499.xlsx"/></Relationships>
</file>

<file path=ppt/charts/_rels/chart2511.xml.rels><?xml version='1.0' encoding='UTF-8' standalone='yes'?>
<Relationships xmlns="http://schemas.openxmlformats.org/package/2006/relationships"><Relationship Id="rId1" Type="http://schemas.openxmlformats.org/officeDocument/2006/relationships/package" Target="../embeddings/Microsoft_Excel_Worksheet2510.xlsx"/></Relationships>
</file>

<file path=ppt/charts/_rels/chart2512.xml.rels><?xml version='1.0' encoding='UTF-8' standalone='yes'?>
<Relationships xmlns="http://schemas.openxmlformats.org/package/2006/relationships"><Relationship Id="rId1"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package" Target="../embeddings/Microsoft_Excel_Worksheet2512.xlsx"/></Relationships>
</file>

<file path=ppt/charts/_rels/chart2514.xml.rels><?xml version='1.0' encoding='UTF-8' standalone='yes'?>
<Relationships xmlns="http://schemas.openxmlformats.org/package/2006/relationships"><Relationship Id="rId1" Type="http://schemas.openxmlformats.org/officeDocument/2006/relationships/package" Target="../embeddings/Microsoft_Excel_Worksheet2513.xlsx"/></Relationships>
</file>

<file path=ppt/charts/_rels/chart2527.xml.rels><?xml version='1.0' encoding='UTF-8' standalone='yes'?>
<Relationships xmlns="http://schemas.openxmlformats.org/package/2006/relationships"><Relationship Id="rId1" Type="http://schemas.openxmlformats.org/officeDocument/2006/relationships/package" Target="../embeddings/Microsoft_Excel_Worksheet2526.xlsx"/></Relationships>
</file>

<file path=ppt/charts/_rels/chart2528.xml.rels><?xml version='1.0' encoding='UTF-8' standalone='yes'?>
<Relationships xmlns="http://schemas.openxmlformats.org/package/2006/relationships"><Relationship Id="rId1" Type="http://schemas.openxmlformats.org/officeDocument/2006/relationships/package" Target="../embeddings/Microsoft_Excel_Worksheet2527.xlsx"/></Relationships>
</file>

<file path=ppt/charts/_rels/chart2529.xml.rels><?xml version='1.0' encoding='UTF-8' standalone='yes'?>
<Relationships xmlns="http://schemas.openxmlformats.org/package/2006/relationships"><Relationship Id="rId1" Type="http://schemas.openxmlformats.org/officeDocument/2006/relationships/package" Target="../embeddings/Microsoft_Excel_Worksheet2528.xlsx"/></Relationships>
</file>

<file path=ppt/charts/_rels/chart2530.xml.rels><?xml version='1.0' encoding='UTF-8' standalone='yes'?>
<Relationships xmlns="http://schemas.openxmlformats.org/package/2006/relationships"><Relationship Id="rId1" Type="http://schemas.openxmlformats.org/officeDocument/2006/relationships/package" Target="../embeddings/Microsoft_Excel_Worksheet2529.xlsx"/></Relationships>
</file>

<file path=ppt/charts/_rels/chart2541.xml.rels><?xml version='1.0' encoding='UTF-8' standalone='yes'?>
<Relationships xmlns="http://schemas.openxmlformats.org/package/2006/relationships"><Relationship Id="rId1" Type="http://schemas.openxmlformats.org/officeDocument/2006/relationships/package" Target="../embeddings/Microsoft_Excel_Worksheet2540.xlsx"/></Relationships>
</file>

<file path=ppt/charts/_rels/chart2542.xml.rels><?xml version='1.0' encoding='UTF-8' standalone='yes'?>
<Relationships xmlns="http://schemas.openxmlformats.org/package/2006/relationships"><Relationship Id="rId1" Type="http://schemas.openxmlformats.org/officeDocument/2006/relationships/package" Target="../embeddings/Microsoft_Excel_Worksheet2541.xlsx"/></Relationships>
</file>

<file path=ppt/charts/_rels/chart2543.xml.rels><?xml version='1.0' encoding='UTF-8' standalone='yes'?>
<Relationships xmlns="http://schemas.openxmlformats.org/package/2006/relationships"><Relationship Id="rId1" Type="http://schemas.openxmlformats.org/officeDocument/2006/relationships/package" Target="../embeddings/Microsoft_Excel_Worksheet2542.xlsx"/></Relationships>
</file>

<file path=ppt/charts/_rels/chart2544.xml.rels><?xml version='1.0' encoding='UTF-8' standalone='yes'?>
<Relationships xmlns="http://schemas.openxmlformats.org/package/2006/relationships"><Relationship Id="rId1" Type="http://schemas.openxmlformats.org/officeDocument/2006/relationships/package" Target="../embeddings/Microsoft_Excel_Worksheet2543.xlsx"/></Relationships>
</file>

<file path=ppt/charts/_rels/chart2555.xml.rels><?xml version='1.0' encoding='UTF-8' standalone='yes'?>
<Relationships xmlns="http://schemas.openxmlformats.org/package/2006/relationships"><Relationship Id="rId1" Type="http://schemas.openxmlformats.org/officeDocument/2006/relationships/package" Target="../embeddings/Microsoft_Excel_Worksheet2554.xlsx"/></Relationships>
</file>

<file path=ppt/charts/_rels/chart2556.xml.rels><?xml version='1.0' encoding='UTF-8' standalone='yes'?>
<Relationships xmlns="http://schemas.openxmlformats.org/package/2006/relationships"><Relationship Id="rId1" Type="http://schemas.openxmlformats.org/officeDocument/2006/relationships/package" Target="../embeddings/Microsoft_Excel_Worksheet2555.xlsx"/></Relationships>
</file>

<file path=ppt/charts/_rels/chart2557.xml.rels><?xml version='1.0' encoding='UTF-8' standalone='yes'?>
<Relationships xmlns="http://schemas.openxmlformats.org/package/2006/relationships"><Relationship Id="rId1" Type="http://schemas.openxmlformats.org/officeDocument/2006/relationships/package" Target="../embeddings/Microsoft_Excel_Worksheet2556.xlsx"/></Relationships>
</file>

<file path=ppt/charts/_rels/chart2558.xml.rels><?xml version='1.0' encoding='UTF-8' standalone='yes'?>
<Relationships xmlns="http://schemas.openxmlformats.org/package/2006/relationships"><Relationship Id="rId1" Type="http://schemas.openxmlformats.org/officeDocument/2006/relationships/package" Target="../embeddings/Microsoft_Excel_Worksheet2557.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85.xml.rels><?xml version='1.0' encoding='UTF-8' standalone='yes'?>
<Relationships xmlns="http://schemas.openxmlformats.org/package/2006/relationships"><Relationship Id="rId1" Type="http://schemas.openxmlformats.org/officeDocument/2006/relationships/package" Target="../embeddings/Microsoft_Excel_Worksheet2584.xlsx"/></Relationships>
</file>

<file path=ppt/charts/_rels/chart2586.xml.rels><?xml version='1.0' encoding='UTF-8' standalone='yes'?>
<Relationships xmlns="http://schemas.openxmlformats.org/package/2006/relationships"><Relationship Id="rId1" Type="http://schemas.openxmlformats.org/officeDocument/2006/relationships/package" Target="../embeddings/Microsoft_Excel_Worksheet2585.xlsx"/></Relationships>
</file>

<file path=ppt/charts/_rels/chart2587.xml.rels><?xml version='1.0' encoding='UTF-8' standalone='yes'?>
<Relationships xmlns="http://schemas.openxmlformats.org/package/2006/relationships"><Relationship Id="rId1" Type="http://schemas.openxmlformats.org/officeDocument/2006/relationships/package" Target="../embeddings/Microsoft_Excel_Worksheet2586.xlsx"/></Relationships>
</file>

<file path=ppt/charts/_rels/chart2588.xml.rels><?xml version='1.0' encoding='UTF-8' standalone='yes'?>
<Relationships xmlns="http://schemas.openxmlformats.org/package/2006/relationships"><Relationship Id="rId1" Type="http://schemas.openxmlformats.org/officeDocument/2006/relationships/package" Target="../embeddings/Microsoft_Excel_Worksheet258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05.xml.rels><?xml version='1.0' encoding='UTF-8' standalone='yes'?>
<Relationships xmlns="http://schemas.openxmlformats.org/package/2006/relationships"><Relationship Id="rId1" Type="http://schemas.openxmlformats.org/officeDocument/2006/relationships/package" Target="../embeddings/Microsoft_Excel_Worksheet2604.xlsx"/></Relationships>
</file>

<file path=ppt/charts/_rels/chart2606.xml.rels><?xml version='1.0' encoding='UTF-8' standalone='yes'?>
<Relationships xmlns="http://schemas.openxmlformats.org/package/2006/relationships"><Relationship Id="rId1" Type="http://schemas.openxmlformats.org/officeDocument/2006/relationships/package" Target="../embeddings/Microsoft_Excel_Worksheet2605.xlsx"/></Relationships>
</file>

<file path=ppt/charts/_rels/chart2607.xml.rels><?xml version='1.0' encoding='UTF-8' standalone='yes'?>
<Relationships xmlns="http://schemas.openxmlformats.org/package/2006/relationships"><Relationship Id="rId1" Type="http://schemas.openxmlformats.org/officeDocument/2006/relationships/package" Target="../embeddings/Microsoft_Excel_Worksheet2606.xlsx"/></Relationships>
</file>

<file path=ppt/charts/_rels/chart2608.xml.rels><?xml version='1.0' encoding='UTF-8' standalone='yes'?>
<Relationships xmlns="http://schemas.openxmlformats.org/package/2006/relationships"><Relationship Id="rId1" Type="http://schemas.openxmlformats.org/officeDocument/2006/relationships/package" Target="../embeddings/Microsoft_Excel_Worksheet2607.xlsx"/></Relationships>
</file>

<file path=ppt/charts/_rels/chart2617.xml.rels><?xml version='1.0' encoding='UTF-8' standalone='yes'?>
<Relationships xmlns="http://schemas.openxmlformats.org/package/2006/relationships"><Relationship Id="rId1" Type="http://schemas.openxmlformats.org/officeDocument/2006/relationships/package" Target="../embeddings/Microsoft_Excel_Worksheet2616.xlsx"/></Relationships>
</file>

<file path=ppt/charts/_rels/chart2618.xml.rels><?xml version='1.0' encoding='UTF-8' standalone='yes'?>
<Relationships xmlns="http://schemas.openxmlformats.org/package/2006/relationships"><Relationship Id="rId1" Type="http://schemas.openxmlformats.org/officeDocument/2006/relationships/package" Target="../embeddings/Microsoft_Excel_Worksheet2617.xlsx"/></Relationships>
</file>

<file path=ppt/charts/_rels/chart2619.xml.rels><?xml version='1.0' encoding='UTF-8' standalone='yes'?>
<Relationships xmlns="http://schemas.openxmlformats.org/package/2006/relationships"><Relationship Id="rId1" Type="http://schemas.openxmlformats.org/officeDocument/2006/relationships/package" Target="../embeddings/Microsoft_Excel_Worksheet2618.xlsx"/></Relationships>
</file>

<file path=ppt/charts/_rels/chart2620.xml.rels><?xml version='1.0' encoding='UTF-8' standalone='yes'?>
<Relationships xmlns="http://schemas.openxmlformats.org/package/2006/relationships"><Relationship Id="rId1" Type="http://schemas.openxmlformats.org/officeDocument/2006/relationships/package" Target="../embeddings/Microsoft_Excel_Worksheet2619.xlsx"/></Relationships>
</file>

<file path=ppt/charts/_rels/chart2631.xml.rels><?xml version='1.0' encoding='UTF-8' standalone='yes'?>
<Relationships xmlns="http://schemas.openxmlformats.org/package/2006/relationships"><Relationship Id="rId1" Type="http://schemas.openxmlformats.org/officeDocument/2006/relationships/package" Target="../embeddings/Microsoft_Excel_Worksheet2630.xlsx"/></Relationships>
</file>

<file path=ppt/charts/_rels/chart2632.xml.rels><?xml version='1.0' encoding='UTF-8' standalone='yes'?>
<Relationships xmlns="http://schemas.openxmlformats.org/package/2006/relationships"><Relationship Id="rId1" Type="http://schemas.openxmlformats.org/officeDocument/2006/relationships/package" Target="../embeddings/Microsoft_Excel_Worksheet2631.xlsx"/></Relationships>
</file>

<file path=ppt/charts/_rels/chart2633.xml.rels><?xml version='1.0' encoding='UTF-8' standalone='yes'?>
<Relationships xmlns="http://schemas.openxmlformats.org/package/2006/relationships"><Relationship Id="rId1" Type="http://schemas.openxmlformats.org/officeDocument/2006/relationships/package" Target="../embeddings/Microsoft_Excel_Worksheet2632.xlsx"/></Relationships>
</file>

<file path=ppt/charts/_rels/chart2634.xml.rels><?xml version='1.0' encoding='UTF-8' standalone='yes'?>
<Relationships xmlns="http://schemas.openxmlformats.org/package/2006/relationships"><Relationship Id="rId1" Type="http://schemas.openxmlformats.org/officeDocument/2006/relationships/package" Target="../embeddings/Microsoft_Excel_Worksheet2633.xlsx"/></Relationships>
</file>

<file path=ppt/charts/_rels/chart2649.xml.rels><?xml version='1.0' encoding='UTF-8' standalone='yes'?>
<Relationships xmlns="http://schemas.openxmlformats.org/package/2006/relationships"><Relationship Id="rId1" Type="http://schemas.openxmlformats.org/officeDocument/2006/relationships/package" Target="../embeddings/Microsoft_Excel_Worksheet2648.xlsx"/></Relationships>
</file>

<file path=ppt/charts/_rels/chart2650.xml.rels><?xml version='1.0' encoding='UTF-8' standalone='yes'?>
<Relationships xmlns="http://schemas.openxmlformats.org/package/2006/relationships"><Relationship Id="rId1" Type="http://schemas.openxmlformats.org/officeDocument/2006/relationships/package" Target="../embeddings/Microsoft_Excel_Worksheet2649.xlsx"/></Relationships>
</file>

<file path=ppt/charts/_rels/chart2661.xml.rels><?xml version='1.0' encoding='UTF-8' standalone='yes'?>
<Relationships xmlns="http://schemas.openxmlformats.org/package/2006/relationships"><Relationship Id="rId1" Type="http://schemas.openxmlformats.org/officeDocument/2006/relationships/package" Target="../embeddings/Microsoft_Excel_Worksheet2660.xlsx"/></Relationships>
</file>

<file path=ppt/charts/_rels/chart2662.xml.rels><?xml version='1.0' encoding='UTF-8' standalone='yes'?>
<Relationships xmlns="http://schemas.openxmlformats.org/package/2006/relationships"><Relationship Id="rId1" Type="http://schemas.openxmlformats.org/officeDocument/2006/relationships/package" Target="../embeddings/Microsoft_Excel_Worksheet2661.xlsx"/></Relationships>
</file>

<file path=ppt/charts/_rels/chart2663.xml.rels><?xml version='1.0' encoding='UTF-8' standalone='yes'?>
<Relationships xmlns="http://schemas.openxmlformats.org/package/2006/relationships"><Relationship Id="rId1" Type="http://schemas.openxmlformats.org/officeDocument/2006/relationships/package" Target="../embeddings/Microsoft_Excel_Worksheet2662.xlsx"/></Relationships>
</file>

<file path=ppt/charts/_rels/chart2664.xml.rels><?xml version='1.0' encoding='UTF-8' standalone='yes'?>
<Relationships xmlns="http://schemas.openxmlformats.org/package/2006/relationships"><Relationship Id="rId1" Type="http://schemas.openxmlformats.org/officeDocument/2006/relationships/package" Target="../embeddings/Microsoft_Excel_Worksheet2663.xlsx"/></Relationships>
</file>

<file path=ppt/charts/_rels/chart2665.xml.rels><?xml version='1.0' encoding='UTF-8' standalone='yes'?>
<Relationships xmlns="http://schemas.openxmlformats.org/package/2006/relationships"><Relationship Id="rId1" Type="http://schemas.openxmlformats.org/officeDocument/2006/relationships/package" Target="../embeddings/Microsoft_Excel_Worksheet2664.xlsx"/></Relationships>
</file>

<file path=ppt/charts/_rels/chart2666.xml.rels><?xml version='1.0' encoding='UTF-8' standalone='yes'?>
<Relationships xmlns="http://schemas.openxmlformats.org/package/2006/relationships"><Relationship Id="rId1" Type="http://schemas.openxmlformats.org/officeDocument/2006/relationships/package" Target="../embeddings/Microsoft_Excel_Worksheet2665.xlsx"/></Relationships>
</file>

<file path=ppt/charts/_rels/chart2675.xml.rels><?xml version='1.0' encoding='UTF-8' standalone='yes'?>
<Relationships xmlns="http://schemas.openxmlformats.org/package/2006/relationships"><Relationship Id="rId1" Type="http://schemas.openxmlformats.org/officeDocument/2006/relationships/package" Target="../embeddings/Microsoft_Excel_Worksheet2674.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77.xml.rels><?xml version='1.0' encoding='UTF-8' standalone='yes'?>
<Relationships xmlns="http://schemas.openxmlformats.org/package/2006/relationships"><Relationship Id="rId1" Type="http://schemas.openxmlformats.org/officeDocument/2006/relationships/package" Target="../embeddings/Microsoft_Excel_Worksheet2676.xlsx"/></Relationships>
</file>

<file path=ppt/charts/_rels/chart2678.xml.rels><?xml version='1.0' encoding='UTF-8' standalone='yes'?>
<Relationships xmlns="http://schemas.openxmlformats.org/package/2006/relationships"><Relationship Id="rId1" Type="http://schemas.openxmlformats.org/officeDocument/2006/relationships/package" Target="../embeddings/Microsoft_Excel_Worksheet2677.xlsx"/></Relationships>
</file>

<file path=ppt/charts/_rels/chart2691.xml.rels><?xml version='1.0' encoding='UTF-8' standalone='yes'?>
<Relationships xmlns="http://schemas.openxmlformats.org/package/2006/relationships"><Relationship Id="rId1" Type="http://schemas.openxmlformats.org/officeDocument/2006/relationships/package" Target="../embeddings/Microsoft_Excel_Worksheet2690.xlsx"/></Relationships>
</file>

<file path=ppt/charts/_rels/chart2692.xml.rels><?xml version='1.0' encoding='UTF-8' standalone='yes'?>
<Relationships xmlns="http://schemas.openxmlformats.org/package/2006/relationships"><Relationship Id="rId1" Type="http://schemas.openxmlformats.org/officeDocument/2006/relationships/package" Target="../embeddings/Microsoft_Excel_Worksheet2691.xlsx"/></Relationships>
</file>

<file path=ppt/charts/_rels/chart2705.xml.rels><?xml version='1.0' encoding='UTF-8' standalone='yes'?>
<Relationships xmlns="http://schemas.openxmlformats.org/package/2006/relationships"><Relationship Id="rId1" Type="http://schemas.openxmlformats.org/officeDocument/2006/relationships/package" Target="../embeddings/Microsoft_Excel_Worksheet2704.xlsx"/></Relationships>
</file>

<file path=ppt/charts/_rels/chart2706.xml.rels><?xml version='1.0' encoding='UTF-8' standalone='yes'?>
<Relationships xmlns="http://schemas.openxmlformats.org/package/2006/relationships"><Relationship Id="rId1" Type="http://schemas.openxmlformats.org/officeDocument/2006/relationships/package" Target="../embeddings/Microsoft_Excel_Worksheet2705.xlsx"/></Relationships>
</file>

<file path=ppt/charts/_rels/chart2707.xml.rels><?xml version='1.0' encoding='UTF-8' standalone='yes'?>
<Relationships xmlns="http://schemas.openxmlformats.org/package/2006/relationships"><Relationship Id="rId1" Type="http://schemas.openxmlformats.org/officeDocument/2006/relationships/package" Target="../embeddings/Microsoft_Excel_Worksheet2706.xlsx"/></Relationships>
</file>

<file path=ppt/charts/_rels/chart2708.xml.rels><?xml version='1.0' encoding='UTF-8' standalone='yes'?>
<Relationships xmlns="http://schemas.openxmlformats.org/package/2006/relationships"><Relationship Id="rId1" Type="http://schemas.openxmlformats.org/officeDocument/2006/relationships/package" Target="../embeddings/Microsoft_Excel_Worksheet2707.xlsx"/></Relationships>
</file>

<file path=ppt/charts/_rels/chart2709.xml.rels><?xml version='1.0' encoding='UTF-8' standalone='yes'?>
<Relationships xmlns="http://schemas.openxmlformats.org/package/2006/relationships"><Relationship Id="rId1" Type="http://schemas.openxmlformats.org/officeDocument/2006/relationships/package" Target="../embeddings/Microsoft_Excel_Worksheet2708.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10.xml.rels><?xml version='1.0' encoding='UTF-8' standalone='yes'?>
<Relationships xmlns="http://schemas.openxmlformats.org/package/2006/relationships"><Relationship Id="rId1" Type="http://schemas.openxmlformats.org/officeDocument/2006/relationships/package" Target="../embeddings/Microsoft_Excel_Worksheet2709.xlsx"/></Relationships>
</file>

<file path=ppt/charts/_rels/chart2719.xml.rels><?xml version='1.0' encoding='UTF-8' standalone='yes'?>
<Relationships xmlns="http://schemas.openxmlformats.org/package/2006/relationships"><Relationship Id="rId1" Type="http://schemas.openxmlformats.org/officeDocument/2006/relationships/package" Target="../embeddings/Microsoft_Excel_Worksheet2718.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20.xml.rels><?xml version='1.0' encoding='UTF-8' standalone='yes'?>
<Relationships xmlns="http://schemas.openxmlformats.org/package/2006/relationships"><Relationship Id="rId1" Type="http://schemas.openxmlformats.org/officeDocument/2006/relationships/package" Target="../embeddings/Microsoft_Excel_Worksheet2719.xlsx"/></Relationships>
</file>

<file path=ppt/charts/_rels/chart2721.xml.rels><?xml version='1.0' encoding='UTF-8' standalone='yes'?>
<Relationships xmlns="http://schemas.openxmlformats.org/package/2006/relationships"><Relationship Id="rId1" Type="http://schemas.openxmlformats.org/officeDocument/2006/relationships/package" Target="../embeddings/Microsoft_Excel_Worksheet2720.xlsx"/></Relationships>
</file>

<file path=ppt/charts/_rels/chart2722.xml.rels><?xml version='1.0' encoding='UTF-8' standalone='yes'?>
<Relationships xmlns="http://schemas.openxmlformats.org/package/2006/relationships"><Relationship Id="rId1" Type="http://schemas.openxmlformats.org/officeDocument/2006/relationships/package" Target="../embeddings/Microsoft_Excel_Worksheet272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33.xml.rels><?xml version='1.0' encoding='UTF-8' standalone='yes'?>
<Relationships xmlns="http://schemas.openxmlformats.org/package/2006/relationships"><Relationship Id="rId1" Type="http://schemas.openxmlformats.org/officeDocument/2006/relationships/package" Target="../embeddings/Microsoft_Excel_Worksheet2732.xlsx"/></Relationships>
</file>

<file path=ppt/charts/_rels/chart2734.xml.rels><?xml version='1.0' encoding='UTF-8' standalone='yes'?>
<Relationships xmlns="http://schemas.openxmlformats.org/package/2006/relationships"><Relationship Id="rId1"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package" Target="../embeddings/Microsoft_Excel_Worksheet2734.xlsx"/></Relationships>
</file>

<file path=ppt/charts/_rels/chart2736.xml.rels><?xml version='1.0' encoding='UTF-8' standalone='yes'?>
<Relationships xmlns="http://schemas.openxmlformats.org/package/2006/relationships"><Relationship Id="rId1" Type="http://schemas.openxmlformats.org/officeDocument/2006/relationships/package" Target="../embeddings/Microsoft_Excel_Worksheet2735.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63.xml.rels><?xml version='1.0' encoding='UTF-8' standalone='yes'?>
<Relationships xmlns="http://schemas.openxmlformats.org/package/2006/relationships"><Relationship Id="rId1" Type="http://schemas.openxmlformats.org/officeDocument/2006/relationships/package" Target="../embeddings/Microsoft_Excel_Worksheet2762.xlsx"/></Relationships>
</file>

<file path=ppt/charts/_rels/chart2764.xml.rels><?xml version='1.0' encoding='UTF-8' standalone='yes'?>
<Relationships xmlns="http://schemas.openxmlformats.org/package/2006/relationships"><Relationship Id="rId1" Type="http://schemas.openxmlformats.org/officeDocument/2006/relationships/package" Target="../embeddings/Microsoft_Excel_Worksheet2763.xlsx"/></Relationships>
</file>

<file path=ppt/charts/_rels/chart2765.xml.rels><?xml version='1.0' encoding='UTF-8' standalone='yes'?>
<Relationships xmlns="http://schemas.openxmlformats.org/package/2006/relationships"><Relationship Id="rId1" Type="http://schemas.openxmlformats.org/officeDocument/2006/relationships/package" Target="../embeddings/Microsoft_Excel_Worksheet2764.xlsx"/></Relationships>
</file>

<file path=ppt/charts/_rels/chart2766.xml.rels><?xml version='1.0' encoding='UTF-8' standalone='yes'?>
<Relationships xmlns="http://schemas.openxmlformats.org/package/2006/relationships"><Relationship Id="rId1" Type="http://schemas.openxmlformats.org/officeDocument/2006/relationships/package" Target="../embeddings/Microsoft_Excel_Worksheet2765.xlsx"/></Relationships>
</file>

<file path=ppt/charts/_rels/chart2777.xml.rels><?xml version='1.0' encoding='UTF-8' standalone='yes'?>
<Relationships xmlns="http://schemas.openxmlformats.org/package/2006/relationships"><Relationship Id="rId1" Type="http://schemas.openxmlformats.org/officeDocument/2006/relationships/package" Target="../embeddings/Microsoft_Excel_Worksheet2776.xlsx"/></Relationships>
</file>

<file path=ppt/charts/_rels/chart2778.xml.rels><?xml version='1.0' encoding='UTF-8' standalone='yes'?>
<Relationships xmlns="http://schemas.openxmlformats.org/package/2006/relationships"><Relationship Id="rId1" Type="http://schemas.openxmlformats.org/officeDocument/2006/relationships/package" Target="../embeddings/Microsoft_Excel_Worksheet2777.xlsx"/></Relationships>
</file>

<file path=ppt/charts/_rels/chart2779.xml.rels><?xml version='1.0' encoding='UTF-8' standalone='yes'?>
<Relationships xmlns="http://schemas.openxmlformats.org/package/2006/relationships"><Relationship Id="rId1" Type="http://schemas.openxmlformats.org/officeDocument/2006/relationships/package" Target="../embeddings/Microsoft_Excel_Worksheet2778.xlsx"/></Relationships>
</file>

<file path=ppt/charts/_rels/chart2780.xml.rels><?xml version='1.0' encoding='UTF-8' standalone='yes'?>
<Relationships xmlns="http://schemas.openxmlformats.org/package/2006/relationships"><Relationship Id="rId1" Type="http://schemas.openxmlformats.org/officeDocument/2006/relationships/package" Target="../embeddings/Microsoft_Excel_Worksheet2779.xlsx"/></Relationships>
</file>

<file path=ppt/charts/_rels/chart2795.xml.rels><?xml version='1.0' encoding='UTF-8' standalone='yes'?>
<Relationships xmlns="http://schemas.openxmlformats.org/package/2006/relationships"><Relationship Id="rId1" Type="http://schemas.openxmlformats.org/officeDocument/2006/relationships/package" Target="../embeddings/Microsoft_Excel_Worksheet2794.xlsx"/></Relationships>
</file>

<file path=ppt/charts/_rels/chart2796.xml.rels><?xml version='1.0' encoding='UTF-8' standalone='yes'?>
<Relationships xmlns="http://schemas.openxmlformats.org/package/2006/relationships"><Relationship Id="rId1" Type="http://schemas.openxmlformats.org/officeDocument/2006/relationships/package" Target="../embeddings/Microsoft_Excel_Worksheet2795.xlsx"/></Relationships>
</file>

<file path=ppt/charts/_rels/chart2797.xml.rels><?xml version='1.0' encoding='UTF-8' standalone='yes'?>
<Relationships xmlns="http://schemas.openxmlformats.org/package/2006/relationships"><Relationship Id="rId1" Type="http://schemas.openxmlformats.org/officeDocument/2006/relationships/package" Target="../embeddings/Microsoft_Excel_Worksheet2796.xlsx"/></Relationships>
</file>

<file path=ppt/charts/_rels/chart2798.xml.rels><?xml version='1.0' encoding='UTF-8' standalone='yes'?>
<Relationships xmlns="http://schemas.openxmlformats.org/package/2006/relationships"><Relationship Id="rId1" Type="http://schemas.openxmlformats.org/officeDocument/2006/relationships/package" Target="../embeddings/Microsoft_Excel_Worksheet2797.xlsx"/></Relationships>
</file>

<file path=ppt/charts/_rels/chart2799.xml.rels><?xml version='1.0' encoding='UTF-8' standalone='yes'?>
<Relationships xmlns="http://schemas.openxmlformats.org/package/2006/relationships"><Relationship Id="rId1" Type="http://schemas.openxmlformats.org/officeDocument/2006/relationships/package" Target="../embeddings/Microsoft_Excel_Worksheet2798.xlsx"/></Relationships>
</file>

<file path=ppt/charts/_rels/chart2800.xml.rels><?xml version='1.0' encoding='UTF-8' standalone='yes'?>
<Relationships xmlns="http://schemas.openxmlformats.org/package/2006/relationships"><Relationship Id="rId1" Type="http://schemas.openxmlformats.org/officeDocument/2006/relationships/package" Target="../embeddings/Microsoft_Excel_Worksheet2799.xlsx"/></Relationships>
</file>

<file path=ppt/charts/_rels/chart2811.xml.rels><?xml version='1.0' encoding='UTF-8' standalone='yes'?>
<Relationships xmlns="http://schemas.openxmlformats.org/package/2006/relationships"><Relationship Id="rId1"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openxmlformats.org/officeDocument/2006/relationships/package" Target="../embeddings/Microsoft_Excel_Worksheet2811.xlsx"/></Relationships>
</file>

<file path=ppt/charts/_rels/chart2827.xml.rels><?xml version='1.0' encoding='UTF-8' standalone='yes'?>
<Relationships xmlns="http://schemas.openxmlformats.org/package/2006/relationships"><Relationship Id="rId1" Type="http://schemas.openxmlformats.org/officeDocument/2006/relationships/package" Target="../embeddings/Microsoft_Excel_Worksheet2826.xlsx"/></Relationships>
</file>

<file path=ppt/charts/_rels/chart2828.xml.rels><?xml version='1.0' encoding='UTF-8' standalone='yes'?>
<Relationships xmlns="http://schemas.openxmlformats.org/package/2006/relationships"><Relationship Id="rId1" Type="http://schemas.openxmlformats.org/officeDocument/2006/relationships/package" Target="../embeddings/Microsoft_Excel_Worksheet2827.xlsx"/></Relationships>
</file>

<file path=ppt/charts/_rels/chart2829.xml.rels><?xml version='1.0' encoding='UTF-8' standalone='yes'?>
<Relationships xmlns="http://schemas.openxmlformats.org/package/2006/relationships"><Relationship Id="rId1" Type="http://schemas.openxmlformats.org/officeDocument/2006/relationships/package" Target="../embeddings/Microsoft_Excel_Worksheet2828.xlsx"/></Relationships>
</file>

<file path=ppt/charts/_rels/chart2830.xml.rels><?xml version='1.0' encoding='UTF-8' standalone='yes'?>
<Relationships xmlns="http://schemas.openxmlformats.org/package/2006/relationships"><Relationship Id="rId1" Type="http://schemas.openxmlformats.org/officeDocument/2006/relationships/package" Target="../embeddings/Microsoft_Excel_Worksheet2829.xlsx"/></Relationships>
</file>

<file path=ppt/charts/_rels/chart2841.xml.rels><?xml version='1.0' encoding='UTF-8' standalone='yes'?>
<Relationships xmlns="http://schemas.openxmlformats.org/package/2006/relationships"><Relationship Id="rId1" Type="http://schemas.openxmlformats.org/officeDocument/2006/relationships/package" Target="../embeddings/Microsoft_Excel_Worksheet2840.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3.xml.rels><?xml version='1.0' encoding='UTF-8' standalone='yes'?>
<Relationships xmlns="http://schemas.openxmlformats.org/package/2006/relationships"><Relationship Id="rId1" Type="http://schemas.openxmlformats.org/officeDocument/2006/relationships/package" Target="../embeddings/Microsoft_Excel_Worksheet2842.xlsx"/></Relationships>
</file>

<file path=ppt/charts/_rels/chart2844.xml.rels><?xml version='1.0' encoding='UTF-8' standalone='yes'?>
<Relationships xmlns="http://schemas.openxmlformats.org/package/2006/relationships"><Relationship Id="rId1" Type="http://schemas.openxmlformats.org/officeDocument/2006/relationships/package" Target="../embeddings/Microsoft_Excel_Worksheet2843.xlsx"/></Relationships>
</file>

<file path=ppt/charts/_rels/chart2853.xml.rels><?xml version='1.0' encoding='UTF-8' standalone='yes'?>
<Relationships xmlns="http://schemas.openxmlformats.org/package/2006/relationships"><Relationship Id="rId1" Type="http://schemas.openxmlformats.org/officeDocument/2006/relationships/package" Target="../embeddings/Microsoft_Excel_Worksheet2852.xlsx"/></Relationships>
</file>

<file path=ppt/charts/_rels/chart2854.xml.rels><?xml version='1.0' encoding='UTF-8' standalone='yes'?>
<Relationships xmlns="http://schemas.openxmlformats.org/package/2006/relationships"><Relationship Id="rId1" Type="http://schemas.openxmlformats.org/officeDocument/2006/relationships/package" Target="../embeddings/Microsoft_Excel_Worksheet2853.xlsx"/></Relationships>
</file>

<file path=ppt/charts/_rels/chart2855.xml.rels><?xml version='1.0' encoding='UTF-8' standalone='yes'?>
<Relationships xmlns="http://schemas.openxmlformats.org/package/2006/relationships"><Relationship Id="rId1" Type="http://schemas.openxmlformats.org/officeDocument/2006/relationships/package" Target="../embeddings/Microsoft_Excel_Worksheet2854.xlsx"/></Relationships>
</file>

<file path=ppt/charts/_rels/chart2856.xml.rels><?xml version='1.0' encoding='UTF-8' standalone='yes'?>
<Relationships xmlns="http://schemas.openxmlformats.org/package/2006/relationships"><Relationship Id="rId1" Type="http://schemas.openxmlformats.org/officeDocument/2006/relationships/package" Target="../embeddings/Microsoft_Excel_Worksheet285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85.xml.rels><?xml version='1.0' encoding='UTF-8' standalone='yes'?>
<Relationships xmlns="http://schemas.openxmlformats.org/package/2006/relationships"><Relationship Id="rId1" Type="http://schemas.openxmlformats.org/officeDocument/2006/relationships/package" Target="../embeddings/Microsoft_Excel_Worksheet2884.xlsx"/></Relationships>
</file>

<file path=ppt/charts/_rels/chart2886.xml.rels><?xml version='1.0' encoding='UTF-8' standalone='yes'?>
<Relationships xmlns="http://schemas.openxmlformats.org/package/2006/relationships"><Relationship Id="rId1" Type="http://schemas.openxmlformats.org/officeDocument/2006/relationships/package" Target="../embeddings/Microsoft_Excel_Worksheet2885.xlsx"/></Relationships>
</file>

<file path=ppt/charts/_rels/chart2887.xml.rels><?xml version='1.0' encoding='UTF-8' standalone='yes'?>
<Relationships xmlns="http://schemas.openxmlformats.org/package/2006/relationships"><Relationship Id="rId1" Type="http://schemas.openxmlformats.org/officeDocument/2006/relationships/package" Target="../embeddings/Microsoft_Excel_Worksheet2886.xlsx"/></Relationships>
</file>

<file path=ppt/charts/_rels/chart2888.xml.rels><?xml version='1.0' encoding='UTF-8' standalone='yes'?>
<Relationships xmlns="http://schemas.openxmlformats.org/package/2006/relationships"><Relationship Id="rId1" Type="http://schemas.openxmlformats.org/officeDocument/2006/relationships/package" Target="../embeddings/Microsoft_Excel_Worksheet28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897.xml.rels><?xml version='1.0' encoding='UTF-8' standalone='yes'?>
<Relationships xmlns="http://schemas.openxmlformats.org/package/2006/relationships"><Relationship Id="rId1" Type="http://schemas.openxmlformats.org/officeDocument/2006/relationships/package" Target="../embeddings/Microsoft_Excel_Worksheet2896.xlsx"/></Relationships>
</file>

<file path=ppt/charts/_rels/chart2898.xml.rels><?xml version='1.0' encoding='UTF-8' standalone='yes'?>
<Relationships xmlns="http://schemas.openxmlformats.org/package/2006/relationships"><Relationship Id="rId1" Type="http://schemas.openxmlformats.org/officeDocument/2006/relationships/package" Target="../embeddings/Microsoft_Excel_Worksheet2897.xlsx"/></Relationships>
</file>

<file path=ppt/charts/_rels/chart2899.xml.rels><?xml version='1.0' encoding='UTF-8' standalone='yes'?>
<Relationships xmlns="http://schemas.openxmlformats.org/package/2006/relationships"><Relationship Id="rId1" Type="http://schemas.openxmlformats.org/officeDocument/2006/relationships/package" Target="../embeddings/Microsoft_Excel_Worksheet289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00.xml.rels><?xml version='1.0' encoding='UTF-8' standalone='yes'?>
<Relationships xmlns="http://schemas.openxmlformats.org/package/2006/relationships"><Relationship Id="rId1" Type="http://schemas.openxmlformats.org/officeDocument/2006/relationships/package" Target="../embeddings/Microsoft_Excel_Worksheet2899.xlsx"/></Relationships>
</file>

<file path=ppt/charts/_rels/chart2911.xml.rels><?xml version='1.0' encoding='UTF-8' standalone='yes'?>
<Relationships xmlns="http://schemas.openxmlformats.org/package/2006/relationships"><Relationship Id="rId1" Type="http://schemas.openxmlformats.org/officeDocument/2006/relationships/package" Target="../embeddings/Microsoft_Excel_Worksheet2910.xlsx"/></Relationships>
</file>

<file path=ppt/charts/_rels/chart2912.xml.rels><?xml version='1.0' encoding='UTF-8' standalone='yes'?>
<Relationships xmlns="http://schemas.openxmlformats.org/package/2006/relationships"><Relationship Id="rId1" Type="http://schemas.openxmlformats.org/officeDocument/2006/relationships/package" Target="../embeddings/Microsoft_Excel_Worksheet2911.xlsx"/></Relationships>
</file>

<file path=ppt/charts/_rels/chart2913.xml.rels><?xml version='1.0' encoding='UTF-8' standalone='yes'?>
<Relationships xmlns="http://schemas.openxmlformats.org/package/2006/relationships"><Relationship Id="rId1" Type="http://schemas.openxmlformats.org/officeDocument/2006/relationships/package" Target="../embeddings/Microsoft_Excel_Worksheet2912.xlsx"/></Relationships>
</file>

<file path=ppt/charts/_rels/chart2914.xml.rels><?xml version='1.0' encoding='UTF-8' standalone='yes'?>
<Relationships xmlns="http://schemas.openxmlformats.org/package/2006/relationships"><Relationship Id="rId1" Type="http://schemas.openxmlformats.org/officeDocument/2006/relationships/package" Target="../embeddings/Microsoft_Excel_Worksheet2913.xlsx"/></Relationships>
</file>

<file path=ppt/charts/_rels/chart2929.xml.rels><?xml version='1.0' encoding='UTF-8' standalone='yes'?>
<Relationships xmlns="http://schemas.openxmlformats.org/package/2006/relationships"><Relationship Id="rId1" Type="http://schemas.openxmlformats.org/officeDocument/2006/relationships/package" Target="../embeddings/Microsoft_Excel_Worksheet2928.xlsx"/></Relationships>
</file>

<file path=ppt/charts/_rels/chart2930.xml.rels><?xml version='1.0' encoding='UTF-8' standalone='yes'?>
<Relationships xmlns="http://schemas.openxmlformats.org/package/2006/relationships"><Relationship Id="rId1" Type="http://schemas.openxmlformats.org/officeDocument/2006/relationships/package" Target="../embeddings/Microsoft_Excel_Worksheet2929.xlsx"/></Relationships>
</file>

<file path=ppt/charts/_rels/chart2941.xml.rels><?xml version='1.0' encoding='UTF-8' standalone='yes'?>
<Relationships xmlns="http://schemas.openxmlformats.org/package/2006/relationships"><Relationship Id="rId1" Type="http://schemas.openxmlformats.org/officeDocument/2006/relationships/package" Target="../embeddings/Microsoft_Excel_Worksheet2940.xlsx"/></Relationships>
</file>

<file path=ppt/charts/_rels/chart2942.xml.rels><?xml version='1.0' encoding='UTF-8' standalone='yes'?>
<Relationships xmlns="http://schemas.openxmlformats.org/package/2006/relationships"><Relationship Id="rId1" Type="http://schemas.openxmlformats.org/officeDocument/2006/relationships/package" Target="../embeddings/Microsoft_Excel_Worksheet2941.xlsx"/></Relationships>
</file>

<file path=ppt/charts/_rels/chart2943.xml.rels><?xml version='1.0' encoding='UTF-8' standalone='yes'?>
<Relationships xmlns="http://schemas.openxmlformats.org/package/2006/relationships"><Relationship Id="rId1" Type="http://schemas.openxmlformats.org/officeDocument/2006/relationships/package" Target="../embeddings/Microsoft_Excel_Worksheet2942.xlsx"/></Relationships>
</file>

<file path=ppt/charts/_rels/chart2944.xml.rels><?xml version='1.0' encoding='UTF-8' standalone='yes'?>
<Relationships xmlns="http://schemas.openxmlformats.org/package/2006/relationships"><Relationship Id="rId1" Type="http://schemas.openxmlformats.org/officeDocument/2006/relationships/package" Target="../embeddings/Microsoft_Excel_Worksheet2943.xlsx"/></Relationships>
</file>

<file path=ppt/charts/_rels/chart2945.xml.rels><?xml version='1.0' encoding='UTF-8' standalone='yes'?>
<Relationships xmlns="http://schemas.openxmlformats.org/package/2006/relationships"><Relationship Id="rId1" Type="http://schemas.openxmlformats.org/officeDocument/2006/relationships/package" Target="../embeddings/Microsoft_Excel_Worksheet2944.xlsx"/></Relationships>
</file>

<file path=ppt/charts/_rels/chart2946.xml.rels><?xml version='1.0' encoding='UTF-8' standalone='yes'?>
<Relationships xmlns="http://schemas.openxmlformats.org/package/2006/relationships"><Relationship Id="rId1" Type="http://schemas.openxmlformats.org/officeDocument/2006/relationships/package" Target="../embeddings/Microsoft_Excel_Worksheet2945.xlsx"/></Relationships>
</file>

<file path=ppt/charts/_rels/chart2955.xml.rels><?xml version='1.0' encoding='UTF-8' standalone='yes'?>
<Relationships xmlns="http://schemas.openxmlformats.org/package/2006/relationships"><Relationship Id="rId1" Type="http://schemas.openxmlformats.org/officeDocument/2006/relationships/package" Target="../embeddings/Microsoft_Excel_Worksheet2954.xlsx"/></Relationships>
</file>

<file path=ppt/charts/_rels/chart2956.xml.rels><?xml version='1.0' encoding='UTF-8' standalone='yes'?>
<Relationships xmlns="http://schemas.openxmlformats.org/package/2006/relationships"><Relationship Id="rId1" Type="http://schemas.openxmlformats.org/officeDocument/2006/relationships/package" Target="../embeddings/Microsoft_Excel_Worksheet2955.xlsx"/></Relationships>
</file>

<file path=ppt/charts/_rels/chart2957.xml.rels><?xml version='1.0' encoding='UTF-8' standalone='yes'?>
<Relationships xmlns="http://schemas.openxmlformats.org/package/2006/relationships"><Relationship Id="rId1" Type="http://schemas.openxmlformats.org/officeDocument/2006/relationships/package" Target="../embeddings/Microsoft_Excel_Worksheet2956.xlsx"/></Relationships>
</file>

<file path=ppt/charts/_rels/chart2958.xml.rels><?xml version='1.0' encoding='UTF-8' standalone='yes'?>
<Relationships xmlns="http://schemas.openxmlformats.org/package/2006/relationships"><Relationship Id="rId1" Type="http://schemas.openxmlformats.org/officeDocument/2006/relationships/package" Target="../embeddings/Microsoft_Excel_Worksheet2957.xlsx"/></Relationships>
</file>

<file path=ppt/charts/_rels/chart2971.xml.rels><?xml version='1.0' encoding='UTF-8' standalone='yes'?>
<Relationships xmlns="http://schemas.openxmlformats.org/package/2006/relationships"><Relationship Id="rId1" Type="http://schemas.openxmlformats.org/officeDocument/2006/relationships/package" Target="../embeddings/Microsoft_Excel_Worksheet2970.xlsx"/></Relationships>
</file>

<file path=ppt/charts/_rels/chart2972.xml.rels><?xml version='1.0' encoding='UTF-8' standalone='yes'?>
<Relationships xmlns="http://schemas.openxmlformats.org/package/2006/relationships"><Relationship Id="rId1" Type="http://schemas.openxmlformats.org/officeDocument/2006/relationships/package" Target="../embeddings/Microsoft_Excel_Worksheet2971.xlsx"/></Relationships>
</file>

<file path=ppt/charts/_rels/chart2985.xml.rels><?xml version='1.0' encoding='UTF-8' standalone='yes'?>
<Relationships xmlns="http://schemas.openxmlformats.org/package/2006/relationships"><Relationship Id="rId1" Type="http://schemas.openxmlformats.org/officeDocument/2006/relationships/package" Target="../embeddings/Microsoft_Excel_Worksheet2984.xlsx"/></Relationships>
</file>

<file path=ppt/charts/_rels/chart2986.xml.rels><?xml version='1.0' encoding='UTF-8' standalone='yes'?>
<Relationships xmlns="http://schemas.openxmlformats.org/package/2006/relationships"><Relationship Id="rId1" Type="http://schemas.openxmlformats.org/officeDocument/2006/relationships/package" Target="../embeddings/Microsoft_Excel_Worksheet2985.xlsx"/></Relationships>
</file>

<file path=ppt/charts/_rels/chart2987.xml.rels><?xml version='1.0' encoding='UTF-8' standalone='yes'?>
<Relationships xmlns="http://schemas.openxmlformats.org/package/2006/relationships"><Relationship Id="rId1" Type="http://schemas.openxmlformats.org/officeDocument/2006/relationships/package" Target="../embeddings/Microsoft_Excel_Worksheet2986.xlsx"/></Relationships>
</file>

<file path=ppt/charts/_rels/chart2988.xml.rels><?xml version='1.0' encoding='UTF-8' standalone='yes'?>
<Relationships xmlns="http://schemas.openxmlformats.org/package/2006/relationships"><Relationship Id="rId1" Type="http://schemas.openxmlformats.org/officeDocument/2006/relationships/package" Target="../embeddings/Microsoft_Excel_Worksheet2987.xlsx"/></Relationships>
</file>

<file path=ppt/charts/_rels/chart2989.xml.rels><?xml version='1.0' encoding='UTF-8' standalone='yes'?>
<Relationships xmlns="http://schemas.openxmlformats.org/package/2006/relationships"><Relationship Id="rId1" Type="http://schemas.openxmlformats.org/officeDocument/2006/relationships/package" Target="../embeddings/Microsoft_Excel_Worksheet2988.xlsx"/></Relationships>
</file>

<file path=ppt/charts/_rels/chart2990.xml.rels><?xml version='1.0' encoding='UTF-8' standalone='yes'?>
<Relationships xmlns="http://schemas.openxmlformats.org/package/2006/relationships"><Relationship Id="rId1" Type="http://schemas.openxmlformats.org/officeDocument/2006/relationships/package" Target="../embeddings/Microsoft_Excel_Worksheet298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05.xml.rels><?xml version='1.0' encoding='UTF-8' standalone='yes'?>
<Relationships xmlns="http://schemas.openxmlformats.org/package/2006/relationships"><Relationship Id="rId1" Type="http://schemas.openxmlformats.org/officeDocument/2006/relationships/package" Target="../embeddings/Microsoft_Excel_Worksheet3004.xlsx"/></Relationships>
</file>

<file path=ppt/charts/_rels/chart3006.xml.rels><?xml version='1.0' encoding='UTF-8' standalone='yes'?>
<Relationships xmlns="http://schemas.openxmlformats.org/package/2006/relationships"><Relationship Id="rId1" Type="http://schemas.openxmlformats.org/officeDocument/2006/relationships/package" Target="../embeddings/Microsoft_Excel_Worksheet3005.xlsx"/></Relationships>
</file>

<file path=ppt/charts/_rels/chart3007.xml.rels><?xml version='1.0' encoding='UTF-8' standalone='yes'?>
<Relationships xmlns="http://schemas.openxmlformats.org/package/2006/relationships"><Relationship Id="rId1" Type="http://schemas.openxmlformats.org/officeDocument/2006/relationships/package" Target="../embeddings/Microsoft_Excel_Worksheet3006.xlsx"/></Relationships>
</file>

<file path=ppt/charts/_rels/chart3008.xml.rels><?xml version='1.0' encoding='UTF-8' standalone='yes'?>
<Relationships xmlns="http://schemas.openxmlformats.org/package/2006/relationships"><Relationship Id="rId1" Type="http://schemas.openxmlformats.org/officeDocument/2006/relationships/package" Target="../embeddings/Microsoft_Excel_Worksheet3007.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19.xml.rels><?xml version='1.0' encoding='UTF-8' standalone='yes'?>
<Relationships xmlns="http://schemas.openxmlformats.org/package/2006/relationships"><Relationship Id="rId1" Type="http://schemas.openxmlformats.org/officeDocument/2006/relationships/package" Target="../embeddings/Microsoft_Excel_Worksheet3018.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20.xml.rels><?xml version='1.0' encoding='UTF-8' standalone='yes'?>
<Relationships xmlns="http://schemas.openxmlformats.org/package/2006/relationships"><Relationship Id="rId1" Type="http://schemas.openxmlformats.org/officeDocument/2006/relationships/package" Target="../embeddings/Microsoft_Excel_Worksheet3019.xlsx"/></Relationships>
</file>

<file path=ppt/charts/_rels/chart3021.xml.rels><?xml version='1.0' encoding='UTF-8' standalone='yes'?>
<Relationships xmlns="http://schemas.openxmlformats.org/package/2006/relationships"><Relationship Id="rId1" Type="http://schemas.openxmlformats.org/officeDocument/2006/relationships/package" Target="../embeddings/Microsoft_Excel_Worksheet3020.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31.xml.rels><?xml version='1.0' encoding='UTF-8' standalone='yes'?>
<Relationships xmlns="http://schemas.openxmlformats.org/package/2006/relationships"><Relationship Id="rId1" Type="http://schemas.openxmlformats.org/officeDocument/2006/relationships/package" Target="../embeddings/Microsoft_Excel_Worksheet3030.xlsx"/></Relationships>
</file>

<file path=ppt/charts/_rels/chart3032.xml.rels><?xml version='1.0' encoding='UTF-8' standalone='yes'?>
<Relationships xmlns="http://schemas.openxmlformats.org/package/2006/relationships"><Relationship Id="rId1" Type="http://schemas.openxmlformats.org/officeDocument/2006/relationships/package" Target="../embeddings/Microsoft_Excel_Worksheet3031.xlsx"/></Relationships>
</file>

<file path=ppt/charts/_rels/chart3033.xml.rels><?xml version='1.0' encoding='UTF-8' standalone='yes'?>
<Relationships xmlns="http://schemas.openxmlformats.org/package/2006/relationships"><Relationship Id="rId1" Type="http://schemas.openxmlformats.org/officeDocument/2006/relationships/package" Target="../embeddings/Microsoft_Excel_Worksheet3032.xlsx"/></Relationships>
</file>

<file path=ppt/charts/_rels/chart3034.xml.rels><?xml version='1.0' encoding='UTF-8' standalone='yes'?>
<Relationships xmlns="http://schemas.openxmlformats.org/package/2006/relationships"><Relationship Id="rId1" Type="http://schemas.openxmlformats.org/officeDocument/2006/relationships/package" Target="../embeddings/Microsoft_Excel_Worksheet3033.xlsx"/></Relationships>
</file>

<file path=ppt/charts/_rels/chart3035.xml.rels><?xml version='1.0' encoding='UTF-8' standalone='yes'?>
<Relationships xmlns="http://schemas.openxmlformats.org/package/2006/relationships"><Relationship Id="rId1" Type="http://schemas.openxmlformats.org/officeDocument/2006/relationships/package" Target="../embeddings/Microsoft_Excel_Worksheet3034.xlsx"/></Relationships>
</file>

<file path=ppt/charts/_rels/chart3036.xml.rels><?xml version='1.0' encoding='UTF-8' standalone='yes'?>
<Relationships xmlns="http://schemas.openxmlformats.org/package/2006/relationships"><Relationship Id="rId1" Type="http://schemas.openxmlformats.org/officeDocument/2006/relationships/package" Target="../embeddings/Microsoft_Excel_Worksheet3035.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49.xml.rels><?xml version='1.0' encoding='UTF-8' standalone='yes'?>
<Relationships xmlns="http://schemas.openxmlformats.org/package/2006/relationships"><Relationship Id="rId1" Type="http://schemas.openxmlformats.org/officeDocument/2006/relationships/package" Target="../embeddings/Microsoft_Excel_Worksheet3048.xlsx"/></Relationships>
</file>

<file path=ppt/charts/_rels/chart3050.xml.rels><?xml version='1.0' encoding='UTF-8' standalone='yes'?>
<Relationships xmlns="http://schemas.openxmlformats.org/package/2006/relationships"><Relationship Id="rId1" Type="http://schemas.openxmlformats.org/officeDocument/2006/relationships/package" Target="../embeddings/Microsoft_Excel_Worksheet3049.xlsx"/></Relationships>
</file>

<file path=ppt/charts/_rels/chart3063.xml.rels><?xml version='1.0' encoding='UTF-8' standalone='yes'?>
<Relationships xmlns="http://schemas.openxmlformats.org/package/2006/relationships"><Relationship Id="rId1" Type="http://schemas.openxmlformats.org/officeDocument/2006/relationships/package" Target="../embeddings/Microsoft_Excel_Worksheet3062.xlsx"/></Relationships>
</file>

<file path=ppt/charts/_rels/chart3064.xml.rels><?xml version='1.0' encoding='UTF-8' standalone='yes'?>
<Relationships xmlns="http://schemas.openxmlformats.org/package/2006/relationships"><Relationship Id="rId1" Type="http://schemas.openxmlformats.org/officeDocument/2006/relationships/package" Target="../embeddings/Microsoft_Excel_Worksheet3063.xlsx"/></Relationships>
</file>

<file path=ppt/charts/_rels/chart3065.xml.rels><?xml version='1.0' encoding='UTF-8' standalone='yes'?>
<Relationships xmlns="http://schemas.openxmlformats.org/package/2006/relationships"><Relationship Id="rId1" Type="http://schemas.openxmlformats.org/officeDocument/2006/relationships/package" Target="../embeddings/Microsoft_Excel_Worksheet3064.xlsx"/></Relationships>
</file>

<file path=ppt/charts/_rels/chart3066.xml.rels><?xml version='1.0' encoding='UTF-8' standalone='yes'?>
<Relationships xmlns="http://schemas.openxmlformats.org/package/2006/relationships"><Relationship Id="rId1" Type="http://schemas.openxmlformats.org/officeDocument/2006/relationships/package" Target="../embeddings/Microsoft_Excel_Worksheet3065.xlsx"/></Relationships>
</file>

<file path=ppt/charts/_rels/chart3075.xml.rels><?xml version='1.0' encoding='UTF-8' standalone='yes'?>
<Relationships xmlns="http://schemas.openxmlformats.org/package/2006/relationships"><Relationship Id="rId1" Type="http://schemas.openxmlformats.org/officeDocument/2006/relationships/package" Target="../embeddings/Microsoft_Excel_Worksheet3074.xlsx"/></Relationships>
</file>

<file path=ppt/charts/_rels/chart3076.xml.rels><?xml version='1.0' encoding='UTF-8' standalone='yes'?>
<Relationships xmlns="http://schemas.openxmlformats.org/package/2006/relationships"><Relationship Id="rId1" Type="http://schemas.openxmlformats.org/officeDocument/2006/relationships/package" Target="../embeddings/Microsoft_Excel_Worksheet3075.xlsx"/></Relationships>
</file>

<file path=ppt/charts/_rels/chart3077.xml.rels><?xml version='1.0' encoding='UTF-8' standalone='yes'?>
<Relationships xmlns="http://schemas.openxmlformats.org/package/2006/relationships"><Relationship Id="rId1" Type="http://schemas.openxmlformats.org/officeDocument/2006/relationships/package" Target="../embeddings/Microsoft_Excel_Worksheet3076.xlsx"/></Relationships>
</file>

<file path=ppt/charts/_rels/chart3078.xml.rels><?xml version='1.0' encoding='UTF-8' standalone='yes'?>
<Relationships xmlns="http://schemas.openxmlformats.org/package/2006/relationships"><Relationship Id="rId1" Type="http://schemas.openxmlformats.org/officeDocument/2006/relationships/package" Target="../embeddings/Microsoft_Excel_Worksheet3077.xlsx"/></Relationships>
</file>

<file path=ppt/charts/_rels/chart3079.xml.rels><?xml version='1.0' encoding='UTF-8' standalone='yes'?>
<Relationships xmlns="http://schemas.openxmlformats.org/package/2006/relationships"><Relationship Id="rId1" Type="http://schemas.openxmlformats.org/officeDocument/2006/relationships/package" Target="../embeddings/Microsoft_Excel_Worksheet3078.xlsx"/></Relationships>
</file>

<file path=ppt/charts/_rels/chart3080.xml.rels><?xml version='1.0' encoding='UTF-8' standalone='yes'?>
<Relationships xmlns="http://schemas.openxmlformats.org/package/2006/relationships"><Relationship Id="rId1" Type="http://schemas.openxmlformats.org/officeDocument/2006/relationships/package" Target="../embeddings/Microsoft_Excel_Worksheet3079.xlsx"/></Relationships>
</file>

<file path=ppt/charts/_rels/chart3091.xml.rels><?xml version='1.0' encoding='UTF-8' standalone='yes'?>
<Relationships xmlns="http://schemas.openxmlformats.org/package/2006/relationships"><Relationship Id="rId1" Type="http://schemas.openxmlformats.org/officeDocument/2006/relationships/package" Target="../embeddings/Microsoft_Excel_Worksheet3090.xlsx"/></Relationships>
</file>

<file path=ppt/charts/_rels/chart3092.xml.rels><?xml version='1.0' encoding='UTF-8' standalone='yes'?>
<Relationships xmlns="http://schemas.openxmlformats.org/package/2006/relationships"><Relationship Id="rId1" Type="http://schemas.openxmlformats.org/officeDocument/2006/relationships/package" Target="../embeddings/Microsoft_Excel_Worksheet3091.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7.xml.rels><?xml version='1.0' encoding='UTF-8' standalone='yes'?>
<Relationships xmlns="http://schemas.openxmlformats.org/package/2006/relationships"><Relationship Id="rId1" Type="http://schemas.openxmlformats.org/officeDocument/2006/relationships/package" Target="../embeddings/Microsoft_Excel_Worksheet3106.xlsx"/></Relationships>
</file>

<file path=ppt/charts/_rels/chart3108.xml.rels><?xml version='1.0' encoding='UTF-8' standalone='yes'?>
<Relationships xmlns="http://schemas.openxmlformats.org/package/2006/relationships"><Relationship Id="rId1" Type="http://schemas.openxmlformats.org/officeDocument/2006/relationships/package" Target="../embeddings/Microsoft_Excel_Worksheet3107.xlsx"/></Relationships>
</file>

<file path=ppt/charts/_rels/chart3109.xml.rels><?xml version='1.0' encoding='UTF-8' standalone='yes'?>
<Relationships xmlns="http://schemas.openxmlformats.org/package/2006/relationships"><Relationship Id="rId1" Type="http://schemas.openxmlformats.org/officeDocument/2006/relationships/package" Target="../embeddings/Microsoft_Excel_Worksheet3108.xlsx"/></Relationships>
</file>

<file path=ppt/charts/_rels/chart3110.xml.rels><?xml version='1.0' encoding='UTF-8' standalone='yes'?>
<Relationships xmlns="http://schemas.openxmlformats.org/package/2006/relationships"><Relationship Id="rId1" Type="http://schemas.openxmlformats.org/officeDocument/2006/relationships/package" Target="../embeddings/Microsoft_Excel_Worksheet3109.xlsx"/></Relationships>
</file>

<file path=ppt/charts/_rels/chart3119.xml.rels><?xml version='1.0' encoding='UTF-8' standalone='yes'?>
<Relationships xmlns="http://schemas.openxmlformats.org/package/2006/relationships"><Relationship Id="rId1" Type="http://schemas.openxmlformats.org/officeDocument/2006/relationships/package" Target="../embeddings/Microsoft_Excel_Worksheet3118.xlsx"/></Relationships>
</file>

<file path=ppt/charts/_rels/chart3120.xml.rels><?xml version='1.0' encoding='UTF-8' standalone='yes'?>
<Relationships xmlns="http://schemas.openxmlformats.org/package/2006/relationships"><Relationship Id="rId1" Type="http://schemas.openxmlformats.org/officeDocument/2006/relationships/package" Target="../embeddings/Microsoft_Excel_Worksheet3119.xlsx"/></Relationships>
</file>

<file path=ppt/charts/_rels/chart3121.xml.rels><?xml version='1.0' encoding='UTF-8' standalone='yes'?>
<Relationships xmlns="http://schemas.openxmlformats.org/package/2006/relationships"><Relationship Id="rId1" Type="http://schemas.openxmlformats.org/officeDocument/2006/relationships/package" Target="../embeddings/Microsoft_Excel_Worksheet3120.xlsx"/></Relationships>
</file>

<file path=ppt/charts/_rels/chart3122.xml.rels><?xml version='1.0' encoding='UTF-8' standalone='yes'?>
<Relationships xmlns="http://schemas.openxmlformats.org/package/2006/relationships"><Relationship Id="rId1" Type="http://schemas.openxmlformats.org/officeDocument/2006/relationships/package" Target="../embeddings/Microsoft_Excel_Worksheet3121.xlsx"/></Relationships>
</file>

<file path=ppt/charts/_rels/chart3123.xml.rels><?xml version='1.0' encoding='UTF-8' standalone='yes'?>
<Relationships xmlns="http://schemas.openxmlformats.org/package/2006/relationships"><Relationship Id="rId1" Type="http://schemas.openxmlformats.org/officeDocument/2006/relationships/package" Target="../embeddings/Microsoft_Excel_Worksheet3122.xlsx"/></Relationships>
</file>

<file path=ppt/charts/_rels/chart3124.xml.rels><?xml version='1.0' encoding='UTF-8' standalone='yes'?>
<Relationships xmlns="http://schemas.openxmlformats.org/package/2006/relationships"><Relationship Id="rId1" Type="http://schemas.openxmlformats.org/officeDocument/2006/relationships/package" Target="../embeddings/Microsoft_Excel_Worksheet3123.xlsx"/></Relationships>
</file>

<file path=ppt/charts/_rels/chart3133.xml.rels><?xml version='1.0' encoding='UTF-8' standalone='yes'?>
<Relationships xmlns="http://schemas.openxmlformats.org/package/2006/relationships"><Relationship Id="rId1" Type="http://schemas.openxmlformats.org/officeDocument/2006/relationships/package" Target="../embeddings/Microsoft_Excel_Worksheet3132.xlsx"/></Relationships>
</file>

<file path=ppt/charts/_rels/chart3134.xml.rels><?xml version='1.0' encoding='UTF-8' standalone='yes'?>
<Relationships xmlns="http://schemas.openxmlformats.org/package/2006/relationships"><Relationship Id="rId1" Type="http://schemas.openxmlformats.org/officeDocument/2006/relationships/package" Target="../embeddings/Microsoft_Excel_Worksheet3133.xlsx"/></Relationships>
</file>

<file path=ppt/charts/_rels/chart3135.xml.rels><?xml version='1.0' encoding='UTF-8' standalone='yes'?>
<Relationships xmlns="http://schemas.openxmlformats.org/package/2006/relationships"><Relationship Id="rId1" Type="http://schemas.openxmlformats.org/officeDocument/2006/relationships/package" Target="../embeddings/Microsoft_Excel_Worksheet3134.xlsx"/></Relationships>
</file>

<file path=ppt/charts/_rels/chart3136.xml.rels><?xml version='1.0' encoding='UTF-8' standalone='yes'?>
<Relationships xmlns="http://schemas.openxmlformats.org/package/2006/relationships"><Relationship Id="rId1" Type="http://schemas.openxmlformats.org/officeDocument/2006/relationships/package" Target="../embeddings/Microsoft_Excel_Worksheet3135.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65.xml.rels><?xml version='1.0' encoding='UTF-8' standalone='yes'?>
<Relationships xmlns="http://schemas.openxmlformats.org/package/2006/relationships"><Relationship Id="rId1" Type="http://schemas.openxmlformats.org/officeDocument/2006/relationships/package" Target="../embeddings/Microsoft_Excel_Worksheet3164.xlsx"/></Relationships>
</file>

<file path=ppt/charts/_rels/chart3166.xml.rels><?xml version='1.0' encoding='UTF-8' standalone='yes'?>
<Relationships xmlns="http://schemas.openxmlformats.org/package/2006/relationships"><Relationship Id="rId1" Type="http://schemas.openxmlformats.org/officeDocument/2006/relationships/package" Target="../embeddings/Microsoft_Excel_Worksheet3165.xlsx"/></Relationships>
</file>

<file path=ppt/charts/_rels/chart3167.xml.rels><?xml version='1.0' encoding='UTF-8' standalone='yes'?>
<Relationships xmlns="http://schemas.openxmlformats.org/package/2006/relationships"><Relationship Id="rId1" Type="http://schemas.openxmlformats.org/officeDocument/2006/relationships/package" Target="../embeddings/Microsoft_Excel_Worksheet3166.xlsx"/></Relationships>
</file>

<file path=ppt/charts/_rels/chart3168.xml.rels><?xml version='1.0' encoding='UTF-8' standalone='yes'?>
<Relationships xmlns="http://schemas.openxmlformats.org/package/2006/relationships"><Relationship Id="rId1" Type="http://schemas.openxmlformats.org/officeDocument/2006/relationships/package" Target="../embeddings/Microsoft_Excel_Worksheet3167.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77.xml.rels><?xml version='1.0' encoding='UTF-8' standalone='yes'?>
<Relationships xmlns="http://schemas.openxmlformats.org/package/2006/relationships"><Relationship Id="rId1" Type="http://schemas.openxmlformats.org/officeDocument/2006/relationships/package" Target="../embeddings/Microsoft_Excel_Worksheet3176.xlsx"/></Relationships>
</file>

<file path=ppt/charts/_rels/chart3178.xml.rels><?xml version='1.0' encoding='UTF-8' standalone='yes'?>
<Relationships xmlns="http://schemas.openxmlformats.org/package/2006/relationships"><Relationship Id="rId1" Type="http://schemas.openxmlformats.org/officeDocument/2006/relationships/package" Target="../embeddings/Microsoft_Excel_Worksheet3177.xlsx"/></Relationships>
</file>

<file path=ppt/charts/_rels/chart3179.xml.rels><?xml version='1.0' encoding='UTF-8' standalone='yes'?>
<Relationships xmlns="http://schemas.openxmlformats.org/package/2006/relationships"><Relationship Id="rId1" Type="http://schemas.openxmlformats.org/officeDocument/2006/relationships/package" Target="../embeddings/Microsoft_Excel_Worksheet3178.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80.xml.rels><?xml version='1.0' encoding='UTF-8' standalone='yes'?>
<Relationships xmlns="http://schemas.openxmlformats.org/package/2006/relationships"><Relationship Id="rId1" Type="http://schemas.openxmlformats.org/officeDocument/2006/relationships/package" Target="../embeddings/Microsoft_Excel_Worksheet3179.xlsx"/></Relationships>
</file>

<file path=ppt/charts/_rels/chart3197.xml.rels><?xml version='1.0' encoding='UTF-8' standalone='yes'?>
<Relationships xmlns="http://schemas.openxmlformats.org/package/2006/relationships"><Relationship Id="rId1"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openxmlformats.org/officeDocument/2006/relationships/package" Target="../embeddings/Microsoft_Excel_Worksheet3197.xlsx"/></Relationships>
</file>

<file path=ppt/charts/_rels/chart3199.xml.rels><?xml version='1.0' encoding='UTF-8' standalone='yes'?>
<Relationships xmlns="http://schemas.openxmlformats.org/package/2006/relationships"><Relationship Id="rId1" Type="http://schemas.openxmlformats.org/officeDocument/2006/relationships/package" Target="../embeddings/Microsoft_Excel_Worksheet319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0.xml.rels><?xml version='1.0' encoding='UTF-8' standalone='yes'?>
<Relationships xmlns="http://schemas.openxmlformats.org/package/2006/relationships"><Relationship Id="rId1" Type="http://schemas.openxmlformats.org/officeDocument/2006/relationships/package" Target="../embeddings/Microsoft_Excel_Worksheet3199.xlsx"/></Relationships>
</file>

<file path=ppt/charts/_rels/chart3211.xml.rels><?xml version='1.0' encoding='UTF-8' standalone='yes'?>
<Relationships xmlns="http://schemas.openxmlformats.org/package/2006/relationships"><Relationship Id="rId1" Type="http://schemas.openxmlformats.org/officeDocument/2006/relationships/package" Target="../embeddings/Microsoft_Excel_Worksheet3210.xlsx"/></Relationships>
</file>

<file path=ppt/charts/_rels/chart3212.xml.rels><?xml version='1.0' encoding='UTF-8' standalone='yes'?>
<Relationships xmlns="http://schemas.openxmlformats.org/package/2006/relationships"><Relationship Id="rId1" Type="http://schemas.openxmlformats.org/officeDocument/2006/relationships/package" Target="../embeddings/Microsoft_Excel_Worksheet3211.xlsx"/></Relationships>
</file>

<file path=ppt/charts/_rels/chart3213.xml.rels><?xml version='1.0' encoding='UTF-8' standalone='yes'?>
<Relationships xmlns="http://schemas.openxmlformats.org/package/2006/relationships"><Relationship Id="rId1" Type="http://schemas.openxmlformats.org/officeDocument/2006/relationships/package" Target="../embeddings/Microsoft_Excel_Worksheet3212.xlsx"/></Relationships>
</file>

<file path=ppt/charts/_rels/chart3214.xml.rels><?xml version='1.0' encoding='UTF-8' standalone='yes'?>
<Relationships xmlns="http://schemas.openxmlformats.org/package/2006/relationships"><Relationship Id="rId1" Type="http://schemas.openxmlformats.org/officeDocument/2006/relationships/package" Target="../embeddings/Microsoft_Excel_Worksheet3213.xlsx"/></Relationships>
</file>

<file path=ppt/charts/_rels/chart3227.xml.rels><?xml version='1.0' encoding='UTF-8' standalone='yes'?>
<Relationships xmlns="http://schemas.openxmlformats.org/package/2006/relationships"><Relationship Id="rId1" Type="http://schemas.openxmlformats.org/officeDocument/2006/relationships/package" Target="../embeddings/Microsoft_Excel_Worksheet3226.xlsx"/></Relationships>
</file>

<file path=ppt/charts/_rels/chart3228.xml.rels><?xml version='1.0' encoding='UTF-8' standalone='yes'?>
<Relationships xmlns="http://schemas.openxmlformats.org/package/2006/relationships"><Relationship Id="rId1" Type="http://schemas.openxmlformats.org/officeDocument/2006/relationships/package" Target="../embeddings/Microsoft_Excel_Worksheet3227.xlsx"/></Relationships>
</file>

<file path=ppt/charts/_rels/chart3229.xml.rels><?xml version='1.0' encoding='UTF-8' standalone='yes'?>
<Relationships xmlns="http://schemas.openxmlformats.org/package/2006/relationships"><Relationship Id="rId1" Type="http://schemas.openxmlformats.org/officeDocument/2006/relationships/package" Target="../embeddings/Microsoft_Excel_Worksheet3228.xlsx"/></Relationships>
</file>

<file path=ppt/charts/_rels/chart3230.xml.rels><?xml version='1.0' encoding='UTF-8' standalone='yes'?>
<Relationships xmlns="http://schemas.openxmlformats.org/package/2006/relationships"><Relationship Id="rId1" Type="http://schemas.openxmlformats.org/officeDocument/2006/relationships/package" Target="../embeddings/Microsoft_Excel_Worksheet3229.xlsx"/></Relationships>
</file>

<file path=ppt/charts/_rels/chart3241.xml.rels><?xml version='1.0' encoding='UTF-8' standalone='yes'?>
<Relationships xmlns="http://schemas.openxmlformats.org/package/2006/relationships"><Relationship Id="rId1" Type="http://schemas.openxmlformats.org/officeDocument/2006/relationships/package" Target="../embeddings/Microsoft_Excel_Worksheet3240.xlsx"/></Relationships>
</file>

<file path=ppt/charts/_rels/chart3242.xml.rels><?xml version='1.0' encoding='UTF-8' standalone='yes'?>
<Relationships xmlns="http://schemas.openxmlformats.org/package/2006/relationships"><Relationship Id="rId1" Type="http://schemas.openxmlformats.org/officeDocument/2006/relationships/package" Target="../embeddings/Microsoft_Excel_Worksheet3241.xlsx"/></Relationships>
</file>

<file path=ppt/charts/_rels/chart3243.xml.rels><?xml version='1.0' encoding='UTF-8' standalone='yes'?>
<Relationships xmlns="http://schemas.openxmlformats.org/package/2006/relationships"><Relationship Id="rId1" Type="http://schemas.openxmlformats.org/officeDocument/2006/relationships/package" Target="../embeddings/Microsoft_Excel_Worksheet3242.xlsx"/></Relationships>
</file>

<file path=ppt/charts/_rels/chart3244.xml.rels><?xml version='1.0' encoding='UTF-8' standalone='yes'?>
<Relationships xmlns="http://schemas.openxmlformats.org/package/2006/relationships"><Relationship Id="rId1" Type="http://schemas.openxmlformats.org/officeDocument/2006/relationships/package" Target="../embeddings/Microsoft_Excel_Worksheet3243.xlsx"/></Relationships>
</file>

<file path=ppt/charts/_rels/chart3255.xml.rels><?xml version='1.0' encoding='UTF-8' standalone='yes'?>
<Relationships xmlns="http://schemas.openxmlformats.org/package/2006/relationships"><Relationship Id="rId1" Type="http://schemas.openxmlformats.org/officeDocument/2006/relationships/package" Target="../embeddings/Microsoft_Excel_Worksheet3254.xlsx"/></Relationships>
</file>

<file path=ppt/charts/_rels/chart3256.xml.rels><?xml version='1.0' encoding='UTF-8' standalone='yes'?>
<Relationships xmlns="http://schemas.openxmlformats.org/package/2006/relationships"><Relationship Id="rId1" Type="http://schemas.openxmlformats.org/officeDocument/2006/relationships/package" Target="../embeddings/Microsoft_Excel_Worksheet3255.xlsx"/></Relationships>
</file>

<file path=ppt/charts/_rels/chart3257.xml.rels><?xml version='1.0' encoding='UTF-8' standalone='yes'?>
<Relationships xmlns="http://schemas.openxmlformats.org/package/2006/relationships"><Relationship Id="rId1" Type="http://schemas.openxmlformats.org/officeDocument/2006/relationships/package" Target="../embeddings/Microsoft_Excel_Worksheet3256.xlsx"/></Relationships>
</file>

<file path=ppt/charts/_rels/chart3258.xml.rels><?xml version='1.0' encoding='UTF-8' standalone='yes'?>
<Relationships xmlns="http://schemas.openxmlformats.org/package/2006/relationships"><Relationship Id="rId1" Type="http://schemas.openxmlformats.org/officeDocument/2006/relationships/package" Target="../embeddings/Microsoft_Excel_Worksheet3257.xlsx"/></Relationships>
</file>

<file path=ppt/charts/_rels/chart3285.xml.rels><?xml version='1.0' encoding='UTF-8' standalone='yes'?>
<Relationships xmlns="http://schemas.openxmlformats.org/package/2006/relationships"><Relationship Id="rId1" Type="http://schemas.openxmlformats.org/officeDocument/2006/relationships/package" Target="../embeddings/Microsoft_Excel_Worksheet3284.xlsx"/></Relationships>
</file>

<file path=ppt/charts/_rels/chart3286.xml.rels><?xml version='1.0' encoding='UTF-8' standalone='yes'?>
<Relationships xmlns="http://schemas.openxmlformats.org/package/2006/relationships"><Relationship Id="rId1" Type="http://schemas.openxmlformats.org/officeDocument/2006/relationships/package" Target="../embeddings/Microsoft_Excel_Worksheet3285.xlsx"/></Relationships>
</file>

<file path=ppt/charts/_rels/chart3287.xml.rels><?xml version='1.0' encoding='UTF-8' standalone='yes'?>
<Relationships xmlns="http://schemas.openxmlformats.org/package/2006/relationships"><Relationship Id="rId1" Type="http://schemas.openxmlformats.org/officeDocument/2006/relationships/package" Target="../embeddings/Microsoft_Excel_Worksheet3286.xlsx"/></Relationships>
</file>

<file path=ppt/charts/_rels/chart3288.xml.rels><?xml version='1.0' encoding='UTF-8' standalone='yes'?>
<Relationships xmlns="http://schemas.openxmlformats.org/package/2006/relationships"><Relationship Id="rId1" Type="http://schemas.openxmlformats.org/officeDocument/2006/relationships/package" Target="../embeddings/Microsoft_Excel_Worksheet3287.xlsx"/></Relationships>
</file>

<file path=ppt/charts/_rels/chart3299.xml.rels><?xml version='1.0' encoding='UTF-8' standalone='yes'?>
<Relationships xmlns="http://schemas.openxmlformats.org/package/2006/relationships"><Relationship Id="rId1" Type="http://schemas.openxmlformats.org/officeDocument/2006/relationships/package" Target="../embeddings/Microsoft_Excel_Worksheet329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0.xml.rels><?xml version='1.0' encoding='UTF-8' standalone='yes'?>
<Relationships xmlns="http://schemas.openxmlformats.org/package/2006/relationships"><Relationship Id="rId1" Type="http://schemas.openxmlformats.org/officeDocument/2006/relationships/package" Target="../embeddings/Microsoft_Excel_Worksheet3299.xlsx"/></Relationships>
</file>

<file path=ppt/charts/_rels/chart3301.xml.rels><?xml version='1.0' encoding='UTF-8' standalone='yes'?>
<Relationships xmlns="http://schemas.openxmlformats.org/package/2006/relationships"><Relationship Id="rId1" Type="http://schemas.openxmlformats.org/officeDocument/2006/relationships/package" Target="../embeddings/Microsoft_Excel_Worksheet3300.xlsx"/></Relationships>
</file>

<file path=ppt/charts/_rels/chart3302.xml.rels><?xml version='1.0' encoding='UTF-8' standalone='yes'?>
<Relationships xmlns="http://schemas.openxmlformats.org/package/2006/relationships"><Relationship Id="rId1" Type="http://schemas.openxmlformats.org/officeDocument/2006/relationships/package" Target="../embeddings/Microsoft_Excel_Worksheet3301.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11.xml.rels><?xml version='1.0' encoding='UTF-8' standalone='yes'?>
<Relationships xmlns="http://schemas.openxmlformats.org/package/2006/relationships"><Relationship Id="rId1" Type="http://schemas.openxmlformats.org/officeDocument/2006/relationships/package" Target="../embeddings/Microsoft_Excel_Worksheet3310.xlsx"/></Relationships>
</file>

<file path=ppt/charts/_rels/chart3312.xml.rels><?xml version='1.0' encoding='UTF-8' standalone='yes'?>
<Relationships xmlns="http://schemas.openxmlformats.org/package/2006/relationships"><Relationship Id="rId1" Type="http://schemas.openxmlformats.org/officeDocument/2006/relationships/package" Target="../embeddings/Microsoft_Excel_Worksheet3311.xlsx"/></Relationships>
</file>

<file path=ppt/charts/_rels/chart3313.xml.rels><?xml version='1.0' encoding='UTF-8' standalone='yes'?>
<Relationships xmlns="http://schemas.openxmlformats.org/package/2006/relationships"><Relationship Id="rId1" Type="http://schemas.openxmlformats.org/officeDocument/2006/relationships/package" Target="../embeddings/Microsoft_Excel_Worksheet3312.xlsx"/></Relationships>
</file>

<file path=ppt/charts/_rels/chart3314.xml.rels><?xml version='1.0' encoding='UTF-8' standalone='yes'?>
<Relationships xmlns="http://schemas.openxmlformats.org/package/2006/relationships"><Relationship Id="rId1" Type="http://schemas.openxmlformats.org/officeDocument/2006/relationships/package" Target="../embeddings/Microsoft_Excel_Worksheet3313.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29.xml.rels><?xml version='1.0' encoding='UTF-8' standalone='yes'?>
<Relationships xmlns="http://schemas.openxmlformats.org/package/2006/relationships"><Relationship Id="rId1" Type="http://schemas.openxmlformats.org/officeDocument/2006/relationships/package" Target="../embeddings/Microsoft_Excel_Worksheet3328.xlsx"/></Relationships>
</file>

<file path=ppt/charts/_rels/chart3330.xml.rels><?xml version='1.0' encoding='UTF-8' standalone='yes'?>
<Relationships xmlns="http://schemas.openxmlformats.org/package/2006/relationships"><Relationship Id="rId1" Type="http://schemas.openxmlformats.org/officeDocument/2006/relationships/package" Target="../embeddings/Microsoft_Excel_Worksheet3329.xlsx"/></Relationships>
</file>

<file path=ppt/charts/_rels/chart3343.xml.rels><?xml version='1.0' encoding='UTF-8' standalone='yes'?>
<Relationships xmlns="http://schemas.openxmlformats.org/package/2006/relationships"><Relationship Id="rId1" Type="http://schemas.openxmlformats.org/officeDocument/2006/relationships/package" Target="../embeddings/Microsoft_Excel_Worksheet3342.xlsx"/></Relationships>
</file>

<file path=ppt/charts/_rels/chart3344.xml.rels><?xml version='1.0' encoding='UTF-8' standalone='yes'?>
<Relationships xmlns="http://schemas.openxmlformats.org/package/2006/relationships"><Relationship Id="rId1" Type="http://schemas.openxmlformats.org/officeDocument/2006/relationships/package" Target="../embeddings/Microsoft_Excel_Worksheet3343.xlsx"/></Relationships>
</file>

<file path=ppt/charts/_rels/chart3345.xml.rels><?xml version='1.0' encoding='UTF-8' standalone='yes'?>
<Relationships xmlns="http://schemas.openxmlformats.org/package/2006/relationships"><Relationship Id="rId1" Type="http://schemas.openxmlformats.org/officeDocument/2006/relationships/package" Target="../embeddings/Microsoft_Excel_Worksheet3344.xlsx"/></Relationships>
</file>

<file path=ppt/charts/_rels/chart3346.xml.rels><?xml version='1.0' encoding='UTF-8' standalone='yes'?>
<Relationships xmlns="http://schemas.openxmlformats.org/package/2006/relationships"><Relationship Id="rId1" Type="http://schemas.openxmlformats.org/officeDocument/2006/relationships/package" Target="../embeddings/Microsoft_Excel_Worksheet3345.xlsx"/></Relationships>
</file>

<file path=ppt/charts/_rels/chart3355.xml.rels><?xml version='1.0' encoding='UTF-8' standalone='yes'?>
<Relationships xmlns="http://schemas.openxmlformats.org/package/2006/relationships"><Relationship Id="rId1" Type="http://schemas.openxmlformats.org/officeDocument/2006/relationships/package" Target="../embeddings/Microsoft_Excel_Worksheet3354.xlsx"/></Relationships>
</file>

<file path=ppt/charts/_rels/chart3356.xml.rels><?xml version='1.0' encoding='UTF-8' standalone='yes'?>
<Relationships xmlns="http://schemas.openxmlformats.org/package/2006/relationships"><Relationship Id="rId1" Type="http://schemas.openxmlformats.org/officeDocument/2006/relationships/package" Target="../embeddings/Microsoft_Excel_Worksheet3355.xlsx"/></Relationships>
</file>

<file path=ppt/charts/_rels/chart3357.xml.rels><?xml version='1.0' encoding='UTF-8' standalone='yes'?>
<Relationships xmlns="http://schemas.openxmlformats.org/package/2006/relationships"><Relationship Id="rId1" Type="http://schemas.openxmlformats.org/officeDocument/2006/relationships/package" Target="../embeddings/Microsoft_Excel_Worksheet3356.xlsx"/></Relationships>
</file>

<file path=ppt/charts/_rels/chart3358.xml.rels><?xml version='1.0' encoding='UTF-8' standalone='yes'?>
<Relationships xmlns="http://schemas.openxmlformats.org/package/2006/relationships"><Relationship Id="rId1" Type="http://schemas.openxmlformats.org/officeDocument/2006/relationships/package" Target="../embeddings/Microsoft_Excel_Worksheet3357.xlsx"/></Relationships>
</file>

<file path=ppt/charts/_rels/chart3359.xml.rels><?xml version='1.0' encoding='UTF-8' standalone='yes'?>
<Relationships xmlns="http://schemas.openxmlformats.org/package/2006/relationships"><Relationship Id="rId1" Type="http://schemas.openxmlformats.org/officeDocument/2006/relationships/package" Target="../embeddings/Microsoft_Excel_Worksheet3358.xlsx"/></Relationships>
</file>

<file path=ppt/charts/_rels/chart3360.xml.rels><?xml version='1.0' encoding='UTF-8' standalone='yes'?>
<Relationships xmlns="http://schemas.openxmlformats.org/package/2006/relationships"><Relationship Id="rId1" Type="http://schemas.openxmlformats.org/officeDocument/2006/relationships/package" Target="../embeddings/Microsoft_Excel_Worksheet3359.xlsx"/></Relationships>
</file>

<file path=ppt/charts/_rels/chart3371.xml.rels><?xml version='1.0' encoding='UTF-8' standalone='yes'?>
<Relationships xmlns="http://schemas.openxmlformats.org/package/2006/relationships"><Relationship Id="rId1" Type="http://schemas.openxmlformats.org/officeDocument/2006/relationships/package" Target="../embeddings/Microsoft_Excel_Worksheet3370.xlsx"/></Relationships>
</file>

<file path=ppt/charts/_rels/chart3372.xml.rels><?xml version='1.0' encoding='UTF-8' standalone='yes'?>
<Relationships xmlns="http://schemas.openxmlformats.org/package/2006/relationships"><Relationship Id="rId1" Type="http://schemas.openxmlformats.org/officeDocument/2006/relationships/package" Target="../embeddings/Microsoft_Excel_Worksheet3371.xlsx"/></Relationships>
</file>

<file path=ppt/charts/_rels/chart3387.xml.rels><?xml version='1.0' encoding='UTF-8' standalone='yes'?>
<Relationships xmlns="http://schemas.openxmlformats.org/package/2006/relationships"><Relationship Id="rId1" Type="http://schemas.openxmlformats.org/officeDocument/2006/relationships/package" Target="../embeddings/Microsoft_Excel_Worksheet3386.xlsx"/></Relationships>
</file>

<file path=ppt/charts/_rels/chart3388.xml.rels><?xml version='1.0' encoding='UTF-8' standalone='yes'?>
<Relationships xmlns="http://schemas.openxmlformats.org/package/2006/relationships"><Relationship Id="rId1" Type="http://schemas.openxmlformats.org/officeDocument/2006/relationships/package" Target="../embeddings/Microsoft_Excel_Worksheet3387.xlsx"/></Relationships>
</file>

<file path=ppt/charts/_rels/chart3389.xml.rels><?xml version='1.0' encoding='UTF-8' standalone='yes'?>
<Relationships xmlns="http://schemas.openxmlformats.org/package/2006/relationships"><Relationship Id="rId1" Type="http://schemas.openxmlformats.org/officeDocument/2006/relationships/package" Target="../embeddings/Microsoft_Excel_Worksheet3388.xlsx"/></Relationships>
</file>

<file path=ppt/charts/_rels/chart3390.xml.rels><?xml version='1.0' encoding='UTF-8' standalone='yes'?>
<Relationships xmlns="http://schemas.openxmlformats.org/package/2006/relationships"><Relationship Id="rId1" Type="http://schemas.openxmlformats.org/officeDocument/2006/relationships/package" Target="../embeddings/Microsoft_Excel_Worksheet3389.xlsx"/></Relationships>
</file>

<file path=ppt/charts/_rels/chart3391.xml.rels><?xml version='1.0' encoding='UTF-8' standalone='yes'?>
<Relationships xmlns="http://schemas.openxmlformats.org/package/2006/relationships"><Relationship Id="rId1" Type="http://schemas.openxmlformats.org/officeDocument/2006/relationships/package" Target="../embeddings/Microsoft_Excel_Worksheet3390.xlsx"/></Relationships>
</file>

<file path=ppt/charts/_rels/chart3392.xml.rels><?xml version='1.0' encoding='UTF-8' standalone='yes'?>
<Relationships xmlns="http://schemas.openxmlformats.org/package/2006/relationships"><Relationship Id="rId1" Type="http://schemas.openxmlformats.org/officeDocument/2006/relationships/package" Target="../embeddings/Microsoft_Excel_Worksheet339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5.xml.rels><?xml version='1.0' encoding='UTF-8' standalone='yes'?>
<Relationships xmlns="http://schemas.openxmlformats.org/package/2006/relationships"><Relationship Id="rId1" Type="http://schemas.openxmlformats.org/officeDocument/2006/relationships/package" Target="../embeddings/Microsoft_Excel_Worksheet3404.xlsx"/></Relationships>
</file>

<file path=ppt/charts/_rels/chart3406.xml.rels><?xml version='1.0' encoding='UTF-8' standalone='yes'?>
<Relationships xmlns="http://schemas.openxmlformats.org/package/2006/relationships"><Relationship Id="rId1" Type="http://schemas.openxmlformats.org/officeDocument/2006/relationships/package" Target="../embeddings/Microsoft_Excel_Worksheet3405.xlsx"/></Relationships>
</file>

<file path=ppt/charts/_rels/chart3407.xml.rels><?xml version='1.0' encoding='UTF-8' standalone='yes'?>
<Relationships xmlns="http://schemas.openxmlformats.org/package/2006/relationships"><Relationship Id="rId1" Type="http://schemas.openxmlformats.org/officeDocument/2006/relationships/package" Target="../embeddings/Microsoft_Excel_Worksheet3406.xlsx"/></Relationships>
</file>

<file path=ppt/charts/_rels/chart3408.xml.rels><?xml version='1.0' encoding='UTF-8' standalone='yes'?>
<Relationships xmlns="http://schemas.openxmlformats.org/package/2006/relationships"><Relationship Id="rId1" Type="http://schemas.openxmlformats.org/officeDocument/2006/relationships/package" Target="../embeddings/Microsoft_Excel_Worksheet3407.xlsx"/></Relationships>
</file>

<file path=ppt/charts/_rels/chart3409.xml.rels><?xml version='1.0' encoding='UTF-8' standalone='yes'?>
<Relationships xmlns="http://schemas.openxmlformats.org/package/2006/relationships"><Relationship Id="rId1" Type="http://schemas.openxmlformats.org/officeDocument/2006/relationships/package" Target="../embeddings/Microsoft_Excel_Worksheet3408.xlsx"/></Relationships>
</file>

<file path=ppt/charts/_rels/chart3410.xml.rels><?xml version='1.0' encoding='UTF-8' standalone='yes'?>
<Relationships xmlns="http://schemas.openxmlformats.org/package/2006/relationships"><Relationship Id="rId1" Type="http://schemas.openxmlformats.org/officeDocument/2006/relationships/package" Target="../embeddings/Microsoft_Excel_Worksheet3409.xlsx"/></Relationships>
</file>

<file path=ppt/charts/_rels/chart3419.xml.rels><?xml version='1.0' encoding='UTF-8' standalone='yes'?>
<Relationships xmlns="http://schemas.openxmlformats.org/package/2006/relationships"><Relationship Id="rId1" Type="http://schemas.openxmlformats.org/officeDocument/2006/relationships/package" Target="../embeddings/Microsoft_Excel_Worksheet3418.xlsx"/></Relationships>
</file>

<file path=ppt/charts/_rels/chart3420.xml.rels><?xml version='1.0' encoding='UTF-8' standalone='yes'?>
<Relationships xmlns="http://schemas.openxmlformats.org/package/2006/relationships"><Relationship Id="rId1" Type="http://schemas.openxmlformats.org/officeDocument/2006/relationships/package" Target="../embeddings/Microsoft_Excel_Worksheet3419.xlsx"/></Relationships>
</file>

<file path=ppt/charts/_rels/chart3421.xml.rels><?xml version='1.0' encoding='UTF-8' standalone='yes'?>
<Relationships xmlns="http://schemas.openxmlformats.org/package/2006/relationships"><Relationship Id="rId1" Type="http://schemas.openxmlformats.org/officeDocument/2006/relationships/package" Target="../embeddings/Microsoft_Excel_Worksheet3420.xlsx"/></Relationships>
</file>

<file path=ppt/charts/_rels/chart3422.xml.rels><?xml version='1.0' encoding='UTF-8' standalone='yes'?>
<Relationships xmlns="http://schemas.openxmlformats.org/package/2006/relationships"><Relationship Id="rId1" Type="http://schemas.openxmlformats.org/officeDocument/2006/relationships/package" Target="../embeddings/Microsoft_Excel_Worksheet3421.xlsx"/></Relationships>
</file>

<file path=ppt/charts/_rels/chart3433.xml.rels><?xml version='1.0' encoding='UTF-8' standalone='yes'?>
<Relationships xmlns="http://schemas.openxmlformats.org/package/2006/relationships"><Relationship Id="rId1" Type="http://schemas.openxmlformats.org/officeDocument/2006/relationships/package" Target="../embeddings/Microsoft_Excel_Worksheet3432.xlsx"/></Relationships>
</file>

<file path=ppt/charts/_rels/chart3434.xml.rels><?xml version='1.0' encoding='UTF-8' standalone='yes'?>
<Relationships xmlns="http://schemas.openxmlformats.org/package/2006/relationships"><Relationship Id="rId1" Type="http://schemas.openxmlformats.org/officeDocument/2006/relationships/package" Target="../embeddings/Microsoft_Excel_Worksheet3433.xlsx"/></Relationships>
</file>

<file path=ppt/charts/_rels/chart3435.xml.rels><?xml version='1.0' encoding='UTF-8' standalone='yes'?>
<Relationships xmlns="http://schemas.openxmlformats.org/package/2006/relationships"><Relationship Id="rId1" Type="http://schemas.openxmlformats.org/officeDocument/2006/relationships/package" Target="../embeddings/Microsoft_Excel_Worksheet3434.xlsx"/></Relationships>
</file>

<file path=ppt/charts/_rels/chart3436.xml.rels><?xml version='1.0' encoding='UTF-8' standalone='yes'?>
<Relationships xmlns="http://schemas.openxmlformats.org/package/2006/relationships"><Relationship Id="rId1" Type="http://schemas.openxmlformats.org/officeDocument/2006/relationships/package" Target="../embeddings/Microsoft_Excel_Worksheet3435.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63.xml.rels><?xml version='1.0' encoding='UTF-8' standalone='yes'?>
<Relationships xmlns="http://schemas.openxmlformats.org/package/2006/relationships"><Relationship Id="rId1" Type="http://schemas.openxmlformats.org/officeDocument/2006/relationships/package" Target="../embeddings/Microsoft_Excel_Worksheet3462.xlsx"/></Relationships>
</file>

<file path=ppt/charts/_rels/chart3464.xml.rels><?xml version='1.0' encoding='UTF-8' standalone='yes'?>
<Relationships xmlns="http://schemas.openxmlformats.org/package/2006/relationships"><Relationship Id="rId1" Type="http://schemas.openxmlformats.org/officeDocument/2006/relationships/package" Target="../embeddings/Microsoft_Excel_Worksheet3463.xlsx"/></Relationships>
</file>

<file path=ppt/charts/_rels/chart3465.xml.rels><?xml version='1.0' encoding='UTF-8' standalone='yes'?>
<Relationships xmlns="http://schemas.openxmlformats.org/package/2006/relationships"><Relationship Id="rId1" Type="http://schemas.openxmlformats.org/officeDocument/2006/relationships/package" Target="../embeddings/Microsoft_Excel_Worksheet3464.xlsx"/></Relationships>
</file>

<file path=ppt/charts/_rels/chart3466.xml.rels><?xml version='1.0' encoding='UTF-8' standalone='yes'?>
<Relationships xmlns="http://schemas.openxmlformats.org/package/2006/relationships"><Relationship Id="rId1" Type="http://schemas.openxmlformats.org/officeDocument/2006/relationships/package" Target="../embeddings/Microsoft_Excel_Worksheet346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77.xml.rels><?xml version='1.0' encoding='UTF-8' standalone='yes'?>
<Relationships xmlns="http://schemas.openxmlformats.org/package/2006/relationships"><Relationship Id="rId1" Type="http://schemas.openxmlformats.org/officeDocument/2006/relationships/package" Target="../embeddings/Microsoft_Excel_Worksheet3476.xlsx"/></Relationships>
</file>

<file path=ppt/charts/_rels/chart3478.xml.rels><?xml version='1.0' encoding='UTF-8' standalone='yes'?>
<Relationships xmlns="http://schemas.openxmlformats.org/package/2006/relationships"><Relationship Id="rId1" Type="http://schemas.openxmlformats.org/officeDocument/2006/relationships/package" Target="../embeddings/Microsoft_Excel_Worksheet3477.xlsx"/></Relationships>
</file>

<file path=ppt/charts/_rels/chart3479.xml.rels><?xml version='1.0' encoding='UTF-8' standalone='yes'?>
<Relationships xmlns="http://schemas.openxmlformats.org/package/2006/relationships"><Relationship Id="rId1" Type="http://schemas.openxmlformats.org/officeDocument/2006/relationships/package" Target="../embeddings/Microsoft_Excel_Worksheet3478.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80.xml.rels><?xml version='1.0' encoding='UTF-8' standalone='yes'?>
<Relationships xmlns="http://schemas.openxmlformats.org/package/2006/relationships"><Relationship Id="rId1" Type="http://schemas.openxmlformats.org/officeDocument/2006/relationships/package" Target="../embeddings/Microsoft_Excel_Worksheet3479.xlsx"/></Relationships>
</file>

<file path=ppt/charts/_rels/chart3491.xml.rels><?xml version='1.0' encoding='UTF-8' standalone='yes'?>
<Relationships xmlns="http://schemas.openxmlformats.org/package/2006/relationships"><Relationship Id="rId1" Type="http://schemas.openxmlformats.org/officeDocument/2006/relationships/package" Target="../embeddings/Microsoft_Excel_Worksheet3490.xlsx"/></Relationships>
</file>

<file path=ppt/charts/_rels/chart3492.xml.rels><?xml version='1.0' encoding='UTF-8' standalone='yes'?>
<Relationships xmlns="http://schemas.openxmlformats.org/package/2006/relationships"><Relationship Id="rId1" Type="http://schemas.openxmlformats.org/officeDocument/2006/relationships/package" Target="../embeddings/Microsoft_Excel_Worksheet3491.xlsx"/></Relationships>
</file>

<file path=ppt/charts/_rels/chart3493.xml.rels><?xml version='1.0' encoding='UTF-8' standalone='yes'?>
<Relationships xmlns="http://schemas.openxmlformats.org/package/2006/relationships"><Relationship Id="rId1" Type="http://schemas.openxmlformats.org/officeDocument/2006/relationships/package" Target="../embeddings/Microsoft_Excel_Worksheet3492.xlsx"/></Relationships>
</file>

<file path=ppt/charts/_rels/chart3494.xml.rels><?xml version='1.0' encoding='UTF-8' standalone='yes'?>
<Relationships xmlns="http://schemas.openxmlformats.org/package/2006/relationships"><Relationship Id="rId1" Type="http://schemas.openxmlformats.org/officeDocument/2006/relationships/package" Target="../embeddings/Microsoft_Excel_Worksheet3493.xlsx"/></Relationships>
</file>

<file path=ppt/charts/_rels/chart3507.xml.rels><?xml version='1.0' encoding='UTF-8' standalone='yes'?>
<Relationships xmlns="http://schemas.openxmlformats.org/package/2006/relationships"><Relationship Id="rId1" Type="http://schemas.openxmlformats.org/officeDocument/2006/relationships/package" Target="../embeddings/Microsoft_Excel_Worksheet3506.xlsx"/></Relationships>
</file>

<file path=ppt/charts/_rels/chart3508.xml.rels><?xml version='1.0' encoding='UTF-8' standalone='yes'?>
<Relationships xmlns="http://schemas.openxmlformats.org/package/2006/relationships"><Relationship Id="rId1" Type="http://schemas.openxmlformats.org/officeDocument/2006/relationships/package" Target="../embeddings/Microsoft_Excel_Worksheet3507.xlsx"/></Relationships>
</file>

<file path=ppt/charts/_rels/chart3509.xml.rels><?xml version='1.0' encoding='UTF-8' standalone='yes'?>
<Relationships xmlns="http://schemas.openxmlformats.org/package/2006/relationships"><Relationship Id="rId1" Type="http://schemas.openxmlformats.org/officeDocument/2006/relationships/package" Target="../embeddings/Microsoft_Excel_Worksheet3508.xlsx"/></Relationships>
</file>

<file path=ppt/charts/_rels/chart3510.xml.rels><?xml version='1.0' encoding='UTF-8' standalone='yes'?>
<Relationships xmlns="http://schemas.openxmlformats.org/package/2006/relationships"><Relationship Id="rId1" Type="http://schemas.openxmlformats.org/officeDocument/2006/relationships/package" Target="../embeddings/Microsoft_Excel_Worksheet3509.xlsx"/></Relationships>
</file>

<file path=ppt/charts/_rels/chart3521.xml.rels><?xml version='1.0' encoding='UTF-8' standalone='yes'?>
<Relationships xmlns="http://schemas.openxmlformats.org/package/2006/relationships"><Relationship Id="rId1" Type="http://schemas.openxmlformats.org/officeDocument/2006/relationships/package" Target="../embeddings/Microsoft_Excel_Worksheet3520.xlsx"/></Relationships>
</file>

<file path=ppt/charts/_rels/chart3522.xml.rels><?xml version='1.0' encoding='UTF-8' standalone='yes'?>
<Relationships xmlns="http://schemas.openxmlformats.org/package/2006/relationships"><Relationship Id="rId1" Type="http://schemas.openxmlformats.org/officeDocument/2006/relationships/package" Target="../embeddings/Microsoft_Excel_Worksheet3521.xlsx"/></Relationships>
</file>

<file path=ppt/charts/_rels/chart3523.xml.rels><?xml version='1.0' encoding='UTF-8' standalone='yes'?>
<Relationships xmlns="http://schemas.openxmlformats.org/package/2006/relationships"><Relationship Id="rId1" Type="http://schemas.openxmlformats.org/officeDocument/2006/relationships/package" Target="../embeddings/Microsoft_Excel_Worksheet3522.xlsx"/></Relationships>
</file>

<file path=ppt/charts/_rels/chart3524.xml.rels><?xml version='1.0' encoding='UTF-8' standalone='yes'?>
<Relationships xmlns="http://schemas.openxmlformats.org/package/2006/relationships"><Relationship Id="rId1" Type="http://schemas.openxmlformats.org/officeDocument/2006/relationships/package" Target="../embeddings/Microsoft_Excel_Worksheet3523.xlsx"/></Relationships>
</file>

<file path=ppt/charts/_rels/chart3533.xml.rels><?xml version='1.0' encoding='UTF-8' standalone='yes'?>
<Relationships xmlns="http://schemas.openxmlformats.org/package/2006/relationships"><Relationship Id="rId1" Type="http://schemas.openxmlformats.org/officeDocument/2006/relationships/package" Target="../embeddings/Microsoft_Excel_Worksheet3532.xlsx"/></Relationships>
</file>

<file path=ppt/charts/_rels/chart3534.xml.rels><?xml version='1.0' encoding='UTF-8' standalone='yes'?>
<Relationships xmlns="http://schemas.openxmlformats.org/package/2006/relationships"><Relationship Id="rId1" Type="http://schemas.openxmlformats.org/officeDocument/2006/relationships/package" Target="../embeddings/Microsoft_Excel_Worksheet3533.xlsx"/></Relationships>
</file>

<file path=ppt/charts/_rels/chart3535.xml.rels><?xml version='1.0' encoding='UTF-8' standalone='yes'?>
<Relationships xmlns="http://schemas.openxmlformats.org/package/2006/relationships"><Relationship Id="rId1" Type="http://schemas.openxmlformats.org/officeDocument/2006/relationships/package" Target="../embeddings/Microsoft_Excel_Worksheet3534.xlsx"/></Relationships>
</file>

<file path=ppt/charts/_rels/chart3536.xml.rels><?xml version='1.0' encoding='UTF-8' standalone='yes'?>
<Relationships xmlns="http://schemas.openxmlformats.org/package/2006/relationships"><Relationship Id="rId1" Type="http://schemas.openxmlformats.org/officeDocument/2006/relationships/package" Target="../embeddings/Microsoft_Excel_Worksheet3535.xlsx"/></Relationships>
</file>

<file path=ppt/charts/_rels/chart3537.xml.rels><?xml version='1.0' encoding='UTF-8' standalone='yes'?>
<Relationships xmlns="http://schemas.openxmlformats.org/package/2006/relationships"><Relationship Id="rId1" Type="http://schemas.openxmlformats.org/officeDocument/2006/relationships/package" Target="../embeddings/Microsoft_Excel_Worksheet3536.xlsx"/></Relationships>
</file>

<file path=ppt/charts/_rels/chart3538.xml.rels><?xml version='1.0' encoding='UTF-8' standalone='yes'?>
<Relationships xmlns="http://schemas.openxmlformats.org/package/2006/relationships"><Relationship Id="rId1" Type="http://schemas.openxmlformats.org/officeDocument/2006/relationships/package" Target="../embeddings/Microsoft_Excel_Worksheet3537.xlsx"/></Relationships>
</file>

<file path=ppt/charts/_rels/chart3565.xml.rels><?xml version='1.0' encoding='UTF-8' standalone='yes'?>
<Relationships xmlns="http://schemas.openxmlformats.org/package/2006/relationships"><Relationship Id="rId1" Type="http://schemas.openxmlformats.org/officeDocument/2006/relationships/package" Target="../embeddings/Microsoft_Excel_Worksheet3564.xlsx"/></Relationships>
</file>

<file path=ppt/charts/_rels/chart3566.xml.rels><?xml version='1.0' encoding='UTF-8' standalone='yes'?>
<Relationships xmlns="http://schemas.openxmlformats.org/package/2006/relationships"><Relationship Id="rId1" Type="http://schemas.openxmlformats.org/officeDocument/2006/relationships/package" Target="../embeddings/Microsoft_Excel_Worksheet3565.xlsx"/></Relationships>
</file>

<file path=ppt/charts/_rels/chart3567.xml.rels><?xml version='1.0' encoding='UTF-8' standalone='yes'?>
<Relationships xmlns="http://schemas.openxmlformats.org/package/2006/relationships"><Relationship Id="rId1" Type="http://schemas.openxmlformats.org/officeDocument/2006/relationships/package" Target="../embeddings/Microsoft_Excel_Worksheet3566.xlsx"/></Relationships>
</file>

<file path=ppt/charts/_rels/chart3568.xml.rels><?xml version='1.0' encoding='UTF-8' standalone='yes'?>
<Relationships xmlns="http://schemas.openxmlformats.org/package/2006/relationships"><Relationship Id="rId1" Type="http://schemas.openxmlformats.org/officeDocument/2006/relationships/package" Target="../embeddings/Microsoft_Excel_Worksheet3567.xlsx"/></Relationships>
</file>

<file path=ppt/charts/_rels/chart3579.xml.rels><?xml version='1.0' encoding='UTF-8' standalone='yes'?>
<Relationships xmlns="http://schemas.openxmlformats.org/package/2006/relationships"><Relationship Id="rId1" Type="http://schemas.openxmlformats.org/officeDocument/2006/relationships/package" Target="../embeddings/Microsoft_Excel_Worksheet3578.xlsx"/></Relationships>
</file>

<file path=ppt/charts/_rels/chart3580.xml.rels><?xml version='1.0' encoding='UTF-8' standalone='yes'?>
<Relationships xmlns="http://schemas.openxmlformats.org/package/2006/relationships"><Relationship Id="rId1" Type="http://schemas.openxmlformats.org/officeDocument/2006/relationships/package" Target="../embeddings/Microsoft_Excel_Worksheet3579.xlsx"/></Relationships>
</file>

<file path=ppt/charts/_rels/chart3581.xml.rels><?xml version='1.0' encoding='UTF-8' standalone='yes'?>
<Relationships xmlns="http://schemas.openxmlformats.org/package/2006/relationships"><Relationship Id="rId1" Type="http://schemas.openxmlformats.org/officeDocument/2006/relationships/package" Target="../embeddings/Microsoft_Excel_Worksheet3580.xlsx"/></Relationships>
</file>

<file path=ppt/charts/_rels/chart3582.xml.rels><?xml version='1.0' encoding='UTF-8' standalone='yes'?>
<Relationships xmlns="http://schemas.openxmlformats.org/package/2006/relationships"><Relationship Id="rId1" Type="http://schemas.openxmlformats.org/officeDocument/2006/relationships/package" Target="../embeddings/Microsoft_Excel_Worksheet3581.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597.xml.rels><?xml version='1.0' encoding='UTF-8' standalone='yes'?>
<Relationships xmlns="http://schemas.openxmlformats.org/package/2006/relationships"><Relationship Id="rId1" Type="http://schemas.openxmlformats.org/officeDocument/2006/relationships/package" Target="../embeddings/Microsoft_Excel_Worksheet3596.xlsx"/></Relationships>
</file>

<file path=ppt/charts/_rels/chart3598.xml.rels><?xml version='1.0' encoding='UTF-8' standalone='yes'?>
<Relationships xmlns="http://schemas.openxmlformats.org/package/2006/relationships"><Relationship Id="rId1" Type="http://schemas.openxmlformats.org/officeDocument/2006/relationships/package" Target="../embeddings/Microsoft_Excel_Worksheet3597.xlsx"/></Relationships>
</file>

<file path=ppt/charts/_rels/chart3599.xml.rels><?xml version='1.0' encoding='UTF-8' standalone='yes'?>
<Relationships xmlns="http://schemas.openxmlformats.org/package/2006/relationships"><Relationship Id="rId1" Type="http://schemas.openxmlformats.org/officeDocument/2006/relationships/package" Target="../embeddings/Microsoft_Excel_Worksheet3598.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00.xml.rels><?xml version='1.0' encoding='UTF-8' standalone='yes'?>
<Relationships xmlns="http://schemas.openxmlformats.org/package/2006/relationships"><Relationship Id="rId1" Type="http://schemas.openxmlformats.org/officeDocument/2006/relationships/package" Target="../embeddings/Microsoft_Excel_Worksheet359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11.xml.rels><?xml version='1.0' encoding='UTF-8' standalone='yes'?>
<Relationships xmlns="http://schemas.openxmlformats.org/package/2006/relationships"><Relationship Id="rId1" Type="http://schemas.openxmlformats.org/officeDocument/2006/relationships/package" Target="../embeddings/Microsoft_Excel_Worksheet3610.xlsx"/></Relationships>
</file>

<file path=ppt/charts/_rels/chart3612.xml.rels><?xml version='1.0' encoding='UTF-8' standalone='yes'?>
<Relationships xmlns="http://schemas.openxmlformats.org/package/2006/relationships"><Relationship Id="rId1" Type="http://schemas.openxmlformats.org/officeDocument/2006/relationships/package" Target="../embeddings/Microsoft_Excel_Worksheet3611.xlsx"/></Relationships>
</file>

<file path=ppt/charts/_rels/chart3613.xml.rels><?xml version='1.0' encoding='UTF-8' standalone='yes'?>
<Relationships xmlns="http://schemas.openxmlformats.org/package/2006/relationships"><Relationship Id="rId1" Type="http://schemas.openxmlformats.org/officeDocument/2006/relationships/package" Target="../embeddings/Microsoft_Excel_Worksheet3612.xlsx"/></Relationships>
</file>

<file path=ppt/charts/_rels/chart3614.xml.rels><?xml version='1.0' encoding='UTF-8' standalone='yes'?>
<Relationships xmlns="http://schemas.openxmlformats.org/package/2006/relationships"><Relationship Id="rId1" Type="http://schemas.openxmlformats.org/officeDocument/2006/relationships/package" Target="../embeddings/Microsoft_Excel_Worksheet3613.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29.xml.rels><?xml version='1.0' encoding='UTF-8' standalone='yes'?>
<Relationships xmlns="http://schemas.openxmlformats.org/package/2006/relationships"><Relationship Id="rId1" Type="http://schemas.openxmlformats.org/officeDocument/2006/relationships/package" Target="../embeddings/Microsoft_Excel_Worksheet3628.xlsx"/></Relationships>
</file>

<file path=ppt/charts/_rels/chart3630.xml.rels><?xml version='1.0' encoding='UTF-8' standalone='yes'?>
<Relationships xmlns="http://schemas.openxmlformats.org/package/2006/relationships"><Relationship Id="rId1" Type="http://schemas.openxmlformats.org/officeDocument/2006/relationships/package" Target="../embeddings/Microsoft_Excel_Worksheet3629.xlsx"/></Relationships>
</file>

<file path=ppt/charts/_rels/chart3641.xml.rels><?xml version='1.0' encoding='UTF-8' standalone='yes'?>
<Relationships xmlns="http://schemas.openxmlformats.org/package/2006/relationships"><Relationship Id="rId1" Type="http://schemas.openxmlformats.org/officeDocument/2006/relationships/package" Target="../embeddings/Microsoft_Excel_Worksheet3640.xlsx"/></Relationships>
</file>

<file path=ppt/charts/_rels/chart3642.xml.rels><?xml version='1.0' encoding='UTF-8' standalone='yes'?>
<Relationships xmlns="http://schemas.openxmlformats.org/package/2006/relationships"><Relationship Id="rId1" Type="http://schemas.openxmlformats.org/officeDocument/2006/relationships/package" Target="../embeddings/Microsoft_Excel_Worksheet3641.xlsx"/></Relationships>
</file>

<file path=ppt/charts/_rels/chart3643.xml.rels><?xml version='1.0' encoding='UTF-8' standalone='yes'?>
<Relationships xmlns="http://schemas.openxmlformats.org/package/2006/relationships"><Relationship Id="rId1" Type="http://schemas.openxmlformats.org/officeDocument/2006/relationships/package" Target="../embeddings/Microsoft_Excel_Worksheet3642.xlsx"/></Relationships>
</file>

<file path=ppt/charts/_rels/chart3644.xml.rels><?xml version='1.0' encoding='UTF-8' standalone='yes'?>
<Relationships xmlns="http://schemas.openxmlformats.org/package/2006/relationships"><Relationship Id="rId1" Type="http://schemas.openxmlformats.org/officeDocument/2006/relationships/package" Target="../embeddings/Microsoft_Excel_Worksheet3643.xlsx"/></Relationships>
</file>

<file path=ppt/charts/_rels/chart3645.xml.rels><?xml version='1.0' encoding='UTF-8' standalone='yes'?>
<Relationships xmlns="http://schemas.openxmlformats.org/package/2006/relationships"><Relationship Id="rId1" Type="http://schemas.openxmlformats.org/officeDocument/2006/relationships/package" Target="../embeddings/Microsoft_Excel_Worksheet3644.xlsx"/></Relationships>
</file>

<file path=ppt/charts/_rels/chart3646.xml.rels><?xml version='1.0' encoding='UTF-8' standalone='yes'?>
<Relationships xmlns="http://schemas.openxmlformats.org/package/2006/relationships"><Relationship Id="rId1" Type="http://schemas.openxmlformats.org/officeDocument/2006/relationships/package" Target="../embeddings/Microsoft_Excel_Worksheet3645.xlsx"/></Relationships>
</file>

<file path=ppt/charts/_rels/chart3655.xml.rels><?xml version='1.0' encoding='UTF-8' standalone='yes'?>
<Relationships xmlns="http://schemas.openxmlformats.org/package/2006/relationships"><Relationship Id="rId1" Type="http://schemas.openxmlformats.org/officeDocument/2006/relationships/package" Target="../embeddings/Microsoft_Excel_Worksheet3654.xlsx"/></Relationships>
</file>

<file path=ppt/charts/_rels/chart3656.xml.rels><?xml version='1.0' encoding='UTF-8' standalone='yes'?>
<Relationships xmlns="http://schemas.openxmlformats.org/package/2006/relationships"><Relationship Id="rId1" Type="http://schemas.openxmlformats.org/officeDocument/2006/relationships/package" Target="../embeddings/Microsoft_Excel_Worksheet3655.xlsx"/></Relationships>
</file>

<file path=ppt/charts/_rels/chart3657.xml.rels><?xml version='1.0' encoding='UTF-8' standalone='yes'?>
<Relationships xmlns="http://schemas.openxmlformats.org/package/2006/relationships"><Relationship Id="rId1" Type="http://schemas.openxmlformats.org/officeDocument/2006/relationships/package" Target="../embeddings/Microsoft_Excel_Worksheet3656.xlsx"/></Relationships>
</file>

<file path=ppt/charts/_rels/chart3658.xml.rels><?xml version='1.0' encoding='UTF-8' standalone='yes'?>
<Relationships xmlns="http://schemas.openxmlformats.org/package/2006/relationships"><Relationship Id="rId1" Type="http://schemas.openxmlformats.org/officeDocument/2006/relationships/package" Target="../embeddings/Microsoft_Excel_Worksheet3657.xlsx"/></Relationships>
</file>

<file path=ppt/charts/_rels/chart3671.xml.rels><?xml version='1.0' encoding='UTF-8' standalone='yes'?>
<Relationships xmlns="http://schemas.openxmlformats.org/package/2006/relationships"><Relationship Id="rId1" Type="http://schemas.openxmlformats.org/officeDocument/2006/relationships/package" Target="../embeddings/Microsoft_Excel_Worksheet3670.xlsx"/></Relationships>
</file>

<file path=ppt/charts/_rels/chart3672.xml.rels><?xml version='1.0' encoding='UTF-8' standalone='yes'?>
<Relationships xmlns="http://schemas.openxmlformats.org/package/2006/relationships"><Relationship Id="rId1" Type="http://schemas.openxmlformats.org/officeDocument/2006/relationships/package" Target="../embeddings/Microsoft_Excel_Worksheet3671.xlsx"/></Relationships>
</file>

<file path=ppt/charts/_rels/chart3685.xml.rels><?xml version='1.0' encoding='UTF-8' standalone='yes'?>
<Relationships xmlns="http://schemas.openxmlformats.org/package/2006/relationships"><Relationship Id="rId1" Type="http://schemas.openxmlformats.org/officeDocument/2006/relationships/package" Target="../embeddings/Microsoft_Excel_Worksheet3684.xlsx"/></Relationships>
</file>

<file path=ppt/charts/_rels/chart3686.xml.rels><?xml version='1.0' encoding='UTF-8' standalone='yes'?>
<Relationships xmlns="http://schemas.openxmlformats.org/package/2006/relationships"><Relationship Id="rId1" Type="http://schemas.openxmlformats.org/officeDocument/2006/relationships/package" Target="../embeddings/Microsoft_Excel_Worksheet3685.xlsx"/></Relationships>
</file>

<file path=ppt/charts/_rels/chart3687.xml.rels><?xml version='1.0' encoding='UTF-8' standalone='yes'?>
<Relationships xmlns="http://schemas.openxmlformats.org/package/2006/relationships"><Relationship Id="rId1" Type="http://schemas.openxmlformats.org/officeDocument/2006/relationships/package" Target="../embeddings/Microsoft_Excel_Worksheet3686.xlsx"/></Relationships>
</file>

<file path=ppt/charts/_rels/chart3688.xml.rels><?xml version='1.0' encoding='UTF-8' standalone='yes'?>
<Relationships xmlns="http://schemas.openxmlformats.org/package/2006/relationships"><Relationship Id="rId1" Type="http://schemas.openxmlformats.org/officeDocument/2006/relationships/package" Target="../embeddings/Microsoft_Excel_Worksheet3687.xlsx"/></Relationships>
</file>

<file path=ppt/charts/_rels/chart3689.xml.rels><?xml version='1.0' encoding='UTF-8' standalone='yes'?>
<Relationships xmlns="http://schemas.openxmlformats.org/package/2006/relationships"><Relationship Id="rId1" Type="http://schemas.openxmlformats.org/officeDocument/2006/relationships/package" Target="../embeddings/Microsoft_Excel_Worksheet3688.xlsx"/></Relationships>
</file>

<file path=ppt/charts/_rels/chart3690.xml.rels><?xml version='1.0' encoding='UTF-8' standalone='yes'?>
<Relationships xmlns="http://schemas.openxmlformats.org/package/2006/relationships"><Relationship Id="rId1" Type="http://schemas.openxmlformats.org/officeDocument/2006/relationships/package" Target="../embeddings/Microsoft_Excel_Worksheet3689.xlsx"/></Relationships>
</file>

<file path=ppt/charts/_rels/chart3699.xml.rels><?xml version='1.0' encoding='UTF-8' standalone='yes'?>
<Relationships xmlns="http://schemas.openxmlformats.org/package/2006/relationships"><Relationship Id="rId1" Type="http://schemas.openxmlformats.org/officeDocument/2006/relationships/package" Target="../embeddings/Microsoft_Excel_Worksheet3698.xlsx"/></Relationships>
</file>

<file path=ppt/charts/_rels/chart3700.xml.rels><?xml version='1.0' encoding='UTF-8' standalone='yes'?>
<Relationships xmlns="http://schemas.openxmlformats.org/package/2006/relationships"><Relationship Id="rId1" Type="http://schemas.openxmlformats.org/officeDocument/2006/relationships/package" Target="../embeddings/Microsoft_Excel_Worksheet3699.xlsx"/></Relationships>
</file>

<file path=ppt/charts/_rels/chart3701.xml.rels><?xml version='1.0' encoding='UTF-8' standalone='yes'?>
<Relationships xmlns="http://schemas.openxmlformats.org/package/2006/relationships"><Relationship Id="rId1" Type="http://schemas.openxmlformats.org/officeDocument/2006/relationships/package" Target="../embeddings/Microsoft_Excel_Worksheet3700.xlsx"/></Relationships>
</file>

<file path=ppt/charts/_rels/chart3702.xml.rels><?xml version='1.0' encoding='UTF-8' standalone='yes'?>
<Relationships xmlns="http://schemas.openxmlformats.org/package/2006/relationships"><Relationship Id="rId1" Type="http://schemas.openxmlformats.org/officeDocument/2006/relationships/package" Target="../embeddings/Microsoft_Excel_Worksheet3701.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13.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3712.xlsx"/></Relationships>
</file>

<file path=ppt/charts/_rels/chart3714.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3713.xlsx"/></Relationships>
</file>

<file path=ppt/charts/_rels/chart3715.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3714.xlsx"/></Relationships>
</file>

<file path=ppt/charts/_rels/chart3716.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3715.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43.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742.xlsx"/></Relationships>
</file>

<file path=ppt/charts/_rels/chart3744.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743.xlsx"/></Relationships>
</file>

<file path=ppt/charts/_rels/chart3745.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3744.xlsx"/></Relationships>
</file>

<file path=ppt/charts/_rels/chart3746.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3745.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57.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3756.xlsx"/></Relationships>
</file>

<file path=ppt/charts/_rels/chart3758.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3757.xlsx"/></Relationships>
</file>

<file path=ppt/charts/_rels/chart3759.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3758.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60.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3759.xlsx"/></Relationships>
</file>

<file path=ppt/charts/_rels/chart3771.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3770.xlsx"/></Relationships>
</file>

<file path=ppt/charts/_rels/chart3772.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3771.xlsx"/></Relationships>
</file>

<file path=ppt/charts/_rels/chart3773.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3772.xlsx"/></Relationships>
</file>

<file path=ppt/charts/_rels/chart3774.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3773.xlsx"/></Relationships>
</file>

<file path=ppt/charts/_rels/chart3787.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3786.xlsx"/></Relationships>
</file>

<file path=ppt/charts/_rels/chart3788.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3787.xlsx"/></Relationships>
</file>

<file path=ppt/charts/_rels/chart3789.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3788.xlsx"/></Relationships>
</file>

<file path=ppt/charts/_rels/chart3790.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3789.xlsx"/></Relationships>
</file>

<file path=ppt/charts/_rels/chart3791.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3790.xlsx"/></Relationships>
</file>

<file path=ppt/charts/_rels/chart3792.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3791.xlsx"/></Relationships>
</file>

<file path=ppt/charts/_rels/chart3807.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3806.xlsx"/></Relationships>
</file>

<file path=ppt/charts/_rels/chart3808.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3807.xlsx"/></Relationships>
</file>

<file path=ppt/charts/_rels/chart3809.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3808.xlsx"/></Relationships>
</file>

<file path=ppt/charts/_rels/chart3810.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809.xlsx"/></Relationships>
</file>

<file path=ppt/charts/_rels/chart3819.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3818.xlsx"/></Relationships>
</file>

<file path=ppt/charts/_rels/chart3820.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3819.xlsx"/></Relationships>
</file>

<file path=ppt/charts/_rels/chart3821.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820.xlsx"/></Relationships>
</file>

<file path=ppt/charts/_rels/chart3822.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821.xlsx"/></Relationships>
</file>

<file path=ppt/charts/_rels/chart3823.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822.xlsx"/></Relationships>
</file>

<file path=ppt/charts/_rels/chart3824.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3823.xlsx"/></Relationships>
</file>

<file path=ppt/charts/_rels/chart3833.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832.xlsx"/></Relationships>
</file>

<file path=ppt/charts/_rels/chart3834.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833.xlsx"/></Relationships>
</file>

<file path=ppt/charts/_rels/chart3835.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834.xlsx"/></Relationships>
</file>

<file path=ppt/charts/_rels/chart3836.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835.xlsx"/></Relationships>
</file>

<file path=ppt/charts/_rels/chart3865.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864.xlsx"/></Relationships>
</file>

<file path=ppt/charts/_rels/chart3866.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865.xlsx"/></Relationships>
</file>

<file path=ppt/charts/_rels/chart3867.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3866.xlsx"/></Relationships>
</file>

<file path=ppt/charts/_rels/chart3868.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867.xlsx"/></Relationships>
</file>

<file path=ppt/charts/_rels/chart3877.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876.xlsx"/></Relationships>
</file>

<file path=ppt/charts/_rels/chart3878.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877.xlsx"/></Relationships>
</file>

<file path=ppt/charts/_rels/chart3879.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878.xlsx"/></Relationships>
</file>

<file path=ppt/charts/_rels/chart3880.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3879.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891.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3890.xlsx"/></Relationships>
</file>

<file path=ppt/charts/_rels/chart3892.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3891.xlsx"/></Relationships>
</file>

<file path=ppt/charts/_rels/chart3893.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3892.xlsx"/></Relationships>
</file>

<file path=ppt/charts/_rels/chart3894.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3893.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09.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390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10.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3909.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21.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3920.xlsx"/></Relationships>
</file>

<file path=ppt/charts/_rels/chart3922.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3921.xlsx"/></Relationships>
</file>

<file path=ppt/charts/_rels/chart3923.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3922.xlsx"/></Relationships>
</file>

<file path=ppt/charts/_rels/chart3924.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3923.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35.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3934.xlsx"/></Relationships>
</file>

<file path=ppt/charts/_rels/chart3936.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3935.xlsx"/></Relationships>
</file>

<file path=ppt/charts/_rels/chart3937.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3936.xlsx"/></Relationships>
</file>

<file path=ppt/charts/_rels/chart3938.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3937.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1.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3950.xlsx"/></Relationships>
</file>

<file path=ppt/charts/_rels/chart3952.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3951.xlsx"/></Relationships>
</file>

<file path=ppt/charts/_rels/chart3965.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3964.xlsx"/></Relationships>
</file>

<file path=ppt/charts/_rels/chart3966.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3965.xlsx"/></Relationships>
</file>

<file path=ppt/charts/_rels/chart3967.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3966.xlsx"/></Relationships>
</file>

<file path=ppt/charts/_rels/chart3968.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3967.xlsx"/></Relationships>
</file>

<file path=ppt/charts/_rels/chart3969.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3968.xlsx"/></Relationships>
</file>

<file path=ppt/charts/_rels/chart3970.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3969.xlsx"/></Relationships>
</file>

<file path=ppt/charts/_rels/chart3979.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3978.xlsx"/></Relationships>
</file>

<file path=ppt/charts/_rels/chart3980.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3979.xlsx"/></Relationships>
</file>

<file path=ppt/charts/_rels/chart3981.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3980.xlsx"/></Relationships>
</file>

<file path=ppt/charts/_rels/chart3982.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3981.xlsx"/></Relationships>
</file>

<file path=ppt/charts/_rels/chart3991.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3990.xlsx"/></Relationships>
</file>

<file path=ppt/charts/_rels/chart3992.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399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07.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4006.xlsx"/></Relationships>
</file>

<file path=ppt/charts/_rels/chart4008.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4007.xlsx"/></Relationships>
</file>

<file path=ppt/charts/_rels/chart4009.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4008.xlsx"/></Relationships>
</file>

<file path=ppt/charts/_rels/chart4010.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4009.xlsx"/></Relationships>
</file>

<file path=ppt/charts/_rels/chart4019.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4018.xlsx"/></Relationships>
</file>

<file path=ppt/charts/_rels/chart4020.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4019.xlsx"/></Relationships>
</file>

<file path=ppt/charts/_rels/chart4021.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4020.xlsx"/></Relationships>
</file>

<file path=ppt/charts/_rels/chart4022.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4021.xlsx"/></Relationships>
</file>

<file path=ppt/charts/_rels/chart4023.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4022.xlsx"/></Relationships>
</file>

<file path=ppt/charts/_rels/chart4024.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4023.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3</c:v>
                </c:pt>
                <c:pt idx="1">
                  <c:v>0.000897</c:v>
                </c:pt>
                <c:pt idx="2">
                  <c:v>0.0004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006</c:v>
                </c:pt>
                <c:pt idx="1">
                  <c:v>0.018206</c:v>
                </c:pt>
                <c:pt idx="2">
                  <c:v>0.0102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07494</c:v>
                </c:pt>
                <c:pt idx="1">
                  <c:v>2.652072</c:v>
                </c:pt>
                <c:pt idx="2">
                  <c:v>1.31313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73491</c:v>
                </c:pt>
                <c:pt idx="1">
                  <c:v>8.832823</c:v>
                </c:pt>
                <c:pt idx="2">
                  <c:v>4.25757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67</c:v>
                </c:pt>
                <c:pt idx="1">
                  <c:v>1.891023</c:v>
                </c:pt>
                <c:pt idx="2">
                  <c:v>0.8994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5</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7.60854</c:v>
                </c:pt>
                <c:pt idx="1">
                  <c:v>41.465592</c:v>
                </c:pt>
                <c:pt idx="2">
                  <c:v>20.1324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584935</c:v>
                </c:pt>
                <c:pt idx="1">
                  <c:v>20.866973</c:v>
                </c:pt>
                <c:pt idx="2">
                  <c:v>10.5078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597145</c:v>
                </c:pt>
                <c:pt idx="1">
                  <c:v>20.054477</c:v>
                </c:pt>
                <c:pt idx="2">
                  <c:v>9.62617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25517</c:v>
                </c:pt>
                <c:pt idx="1">
                  <c:v>16.422905</c:v>
                </c:pt>
                <c:pt idx="2">
                  <c:v>7.76682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97.1</a:t>
                    </a:r>
                  </a:p>
                </c:rich>
              </c:tx>
              <c:showLegendKey val="0"/>
              <c:showVal val="1"/>
              <c:showCatName val="0"/>
              <c:showSerName val="0"/>
              <c:showPercent val="0"/>
              <c:showBubbleSize val="0"/>
            </c:dLbl>
            <c:dLbl>
              <c:idx val="1"/>
              <c:tx>
                <c:rich>
                  <a:bodyPr/>
                  <a:lstStyle/>
                  <a:p>
                    <a:r>
                      <a:rPr>
                        <a:solidFill>
                          <a:srgbClr val="FFFFFF"/>
                        </a:solidFill>
                      </a:rPr>
                      <a:t>231.9</a:t>
                    </a:r>
                  </a:p>
                </c:rich>
              </c:tx>
              <c:showLegendKey val="0"/>
              <c:showVal val="1"/>
              <c:showCatName val="0"/>
              <c:showSerName val="0"/>
              <c:showPercent val="0"/>
              <c:showBubbleSize val="0"/>
            </c:dLbl>
            <c:dLbl>
              <c:idx val="2"/>
              <c:tx>
                <c:rich>
                  <a:bodyPr/>
                  <a:lstStyle/>
                  <a:p>
                    <a:r>
                      <a:rPr>
                        <a:solidFill>
                          <a:srgbClr val="FFFFFF"/>
                        </a:solidFill>
                      </a:rPr>
                      <a:t>11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97.057638</c:v>
                </c:pt>
                <c:pt idx="1">
                  <c:v>231.935306</c:v>
                </c:pt>
                <c:pt idx="2">
                  <c:v>114.563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46</c:v>
                </c:pt>
                <c:pt idx="1">
                  <c:v>0.000408</c:v>
                </c:pt>
                <c:pt idx="2">
                  <c:v>0.00022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64</c:v>
                </c:pt>
                <c:pt idx="1">
                  <c:v>0.001277</c:v>
                </c:pt>
                <c:pt idx="2">
                  <c:v>0.000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102</c:v>
                </c:pt>
                <c:pt idx="1">
                  <c:v>0.017358</c:v>
                </c:pt>
                <c:pt idx="2">
                  <c:v>0.0092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2496</c:v>
                </c:pt>
                <c:pt idx="1">
                  <c:v>0.066695</c:v>
                </c:pt>
                <c:pt idx="2">
                  <c:v>0.0246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699</c:v>
                </c:pt>
                <c:pt idx="1">
                  <c:v>0.020563</c:v>
                </c:pt>
                <c:pt idx="2">
                  <c:v>0.009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2159</c:v>
                </c:pt>
                <c:pt idx="1">
                  <c:v>0.073831</c:v>
                </c:pt>
                <c:pt idx="2">
                  <c:v>0.0264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481</c:v>
                </c:pt>
                <c:pt idx="1">
                  <c:v>0.020595</c:v>
                </c:pt>
                <c:pt idx="2">
                  <c:v>0.0064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5672</c:v>
                </c:pt>
                <c:pt idx="1">
                  <c:v>0.277802</c:v>
                </c:pt>
                <c:pt idx="2">
                  <c:v>0.0931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36</c:v>
                </c:pt>
                <c:pt idx="1">
                  <c:v>0.00991</c:v>
                </c:pt>
                <c:pt idx="2">
                  <c:v>0.0038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878</c:v>
                </c:pt>
                <c:pt idx="1">
                  <c:v>0.133839</c:v>
                </c:pt>
                <c:pt idx="2">
                  <c:v>0.0534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944</c:v>
                </c:pt>
                <c:pt idx="1">
                  <c:v>0.011838</c:v>
                </c:pt>
                <c:pt idx="2">
                  <c:v>0.00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83</c:v>
                </c:pt>
                <c:pt idx="1">
                  <c:v>0.155526</c:v>
                </c:pt>
                <c:pt idx="2">
                  <c:v>0.0620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950637</c:v>
                </c:pt>
                <c:pt idx="1">
                  <c:v>0.865662</c:v>
                </c:pt>
                <c:pt idx="2">
                  <c:v>0.3864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163062</c:v>
                </c:pt>
                <c:pt idx="1">
                  <c:v>3.873406</c:v>
                </c:pt>
                <c:pt idx="2">
                  <c:v>1.43145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4</c:v>
                </c:pt>
                <c:pt idx="1">
                  <c:v>0.000501</c:v>
                </c:pt>
                <c:pt idx="2">
                  <c:v>0.00020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6</c:v>
                </c:pt>
                <c:pt idx="1">
                  <c:v>0.000195</c:v>
                </c:pt>
                <c:pt idx="2">
                  <c:v>7.9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702</c:v>
                </c:pt>
                <c:pt idx="1">
                  <c:v>0.002859</c:v>
                </c:pt>
                <c:pt idx="2">
                  <c:v>0.001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148</c:v>
                </c:pt>
                <c:pt idx="1">
                  <c:v>0.00807</c:v>
                </c:pt>
                <c:pt idx="2">
                  <c:v>0.0036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86</c:v>
                </c:pt>
                <c:pt idx="1">
                  <c:v>0.004576</c:v>
                </c:pt>
                <c:pt idx="2">
                  <c:v>0.0019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534</c:v>
                </c:pt>
                <c:pt idx="1">
                  <c:v>0.047398</c:v>
                </c:pt>
                <c:pt idx="2">
                  <c:v>0.0198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027</c:v>
                </c:pt>
                <c:pt idx="1">
                  <c:v>0.046259</c:v>
                </c:pt>
                <c:pt idx="2">
                  <c:v>0.0156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55</c:v>
                </c:pt>
                <c:pt idx="1">
                  <c:v>0.012523</c:v>
                </c:pt>
                <c:pt idx="2">
                  <c:v>0.004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101</c:v>
                </c:pt>
                <c:pt idx="1">
                  <c:v>0.034128</c:v>
                </c:pt>
                <c:pt idx="2">
                  <c:v>0.014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299555</c:v>
                </c:pt>
                <c:pt idx="1">
                  <c:v>6.020353</c:v>
                </c:pt>
                <c:pt idx="2">
                  <c:v>2.0235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6718</c:v>
                </c:pt>
                <c:pt idx="1">
                  <c:v>0.661709</c:v>
                </c:pt>
                <c:pt idx="2">
                  <c:v>0.2367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835451</c:v>
                </c:pt>
                <c:pt idx="1">
                  <c:v>2.423323</c:v>
                </c:pt>
                <c:pt idx="2">
                  <c:v>0.9618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496</c:v>
                </c:pt>
                <c:pt idx="1">
                  <c:v>0.136071</c:v>
                </c:pt>
                <c:pt idx="2">
                  <c:v>0.0787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30886</c:v>
                </c:pt>
                <c:pt idx="1">
                  <c:v>7.06026</c:v>
                </c:pt>
                <c:pt idx="2">
                  <c:v>4.0651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54</c:v>
                </c:pt>
                <c:pt idx="1">
                  <c:v>0.000676</c:v>
                </c:pt>
                <c:pt idx="2">
                  <c:v>0.0001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41</c:v>
                </c:pt>
                <c:pt idx="1">
                  <c:v>0.001784</c:v>
                </c:pt>
                <c:pt idx="2">
                  <c:v>0.0006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036</c:v>
                </c:pt>
                <c:pt idx="1">
                  <c:v>0.036616</c:v>
                </c:pt>
                <c:pt idx="2">
                  <c:v>0.0104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13</c:v>
                </c:pt>
                <c:pt idx="1">
                  <c:v>0.136962</c:v>
                </c:pt>
                <c:pt idx="2">
                  <c:v>0.0460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119</c:v>
                </c:pt>
                <c:pt idx="1">
                  <c:v>0.001589</c:v>
                </c:pt>
                <c:pt idx="2">
                  <c:v>0.000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46</c:v>
                </c:pt>
                <c:pt idx="1">
                  <c:v>0.000433</c:v>
                </c:pt>
                <c:pt idx="2">
                  <c:v>0.0001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3</c:v>
                </c:pt>
                <c:pt idx="1">
                  <c:v>0.001366</c:v>
                </c:pt>
                <c:pt idx="2">
                  <c:v>0.0004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5923</c:v>
                </c:pt>
                <c:pt idx="1">
                  <c:v>0.213474</c:v>
                </c:pt>
                <c:pt idx="2">
                  <c:v>0.0590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938</c:v>
                </c:pt>
                <c:pt idx="1">
                  <c:v>0.022978</c:v>
                </c:pt>
                <c:pt idx="2">
                  <c:v>0.00683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232</c:v>
                </c:pt>
                <c:pt idx="1">
                  <c:v>0.100665</c:v>
                </c:pt>
                <c:pt idx="2">
                  <c:v>0.0325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831</c:v>
                </c:pt>
                <c:pt idx="1">
                  <c:v>0.002154</c:v>
                </c:pt>
                <c:pt idx="2">
                  <c:v>0.0007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6</c:v>
                </c:pt>
                <c:pt idx="1">
                  <c:v>0.000615</c:v>
                </c:pt>
                <c:pt idx="2">
                  <c:v>0.00018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07</c:v>
                </c:pt>
                <c:pt idx="1">
                  <c:v>0.001184</c:v>
                </c:pt>
                <c:pt idx="2">
                  <c:v>0.000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2914</c:v>
                </c:pt>
                <c:pt idx="1">
                  <c:v>0.280374</c:v>
                </c:pt>
                <c:pt idx="2">
                  <c:v>0.0991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814</c:v>
                </c:pt>
                <c:pt idx="1">
                  <c:v>0.033542</c:v>
                </c:pt>
                <c:pt idx="2">
                  <c:v>0.0103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284</c:v>
                </c:pt>
                <c:pt idx="1">
                  <c:v>0.08307</c:v>
                </c:pt>
                <c:pt idx="2">
                  <c:v>0.0346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965</c:v>
                </c:pt>
                <c:pt idx="2">
                  <c:v>0.0002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54</c:v>
                </c:pt>
                <c:pt idx="1">
                  <c:v>0.000267</c:v>
                </c:pt>
                <c:pt idx="2">
                  <c:v>9.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63</c:v>
                </c:pt>
                <c:pt idx="1">
                  <c:v>0.001054</c:v>
                </c:pt>
                <c:pt idx="2">
                  <c:v>0.000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318</c:v>
                </c:pt>
                <c:pt idx="1">
                  <c:v>0.125797</c:v>
                </c:pt>
                <c:pt idx="2">
                  <c:v>0.0318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96</c:v>
                </c:pt>
                <c:pt idx="1">
                  <c:v>0.014427</c:v>
                </c:pt>
                <c:pt idx="2">
                  <c:v>0.0052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902</c:v>
                </c:pt>
                <c:pt idx="1">
                  <c:v>0.074288</c:v>
                </c:pt>
                <c:pt idx="2">
                  <c:v>0.02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94</c:v>
                </c:pt>
                <c:pt idx="1">
                  <c:v>0.001081</c:v>
                </c:pt>
                <c:pt idx="2">
                  <c:v>4.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1e-05</c:v>
                </c:pt>
                <c:pt idx="1">
                  <c:v>5.4e-05</c:v>
                </c:pt>
                <c:pt idx="2">
                  <c:v>1.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2</c:v>
                </c:pt>
                <c:pt idx="1">
                  <c:v>0.000216</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1529</c:v>
                </c:pt>
                <c:pt idx="1">
                  <c:v>0.137458</c:v>
                </c:pt>
                <c:pt idx="2">
                  <c:v>0.0058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68</c:v>
                </c:pt>
                <c:pt idx="1">
                  <c:v>0.00276</c:v>
                </c:pt>
                <c:pt idx="2">
                  <c:v>0.00072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618</c:v>
                </c:pt>
                <c:pt idx="1">
                  <c:v>0.013783</c:v>
                </c:pt>
                <c:pt idx="2">
                  <c:v>0.0057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506</c:v>
                </c:pt>
                <c:pt idx="1">
                  <c:v>0.015758</c:v>
                </c:pt>
                <c:pt idx="2">
                  <c:v>0.0056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424</c:v>
                </c:pt>
                <c:pt idx="1">
                  <c:v>0.003393</c:v>
                </c:pt>
                <c:pt idx="2">
                  <c:v>0.0012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569</c:v>
                </c:pt>
                <c:pt idx="1">
                  <c:v>0.010221</c:v>
                </c:pt>
                <c:pt idx="2">
                  <c:v>0.004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1503</c:v>
                </c:pt>
                <c:pt idx="1">
                  <c:v>2.066422</c:v>
                </c:pt>
                <c:pt idx="2">
                  <c:v>0.7323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076</c:v>
                </c:pt>
                <c:pt idx="1">
                  <c:v>0.178164</c:v>
                </c:pt>
                <c:pt idx="2">
                  <c:v>0.0678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6808</c:v>
                </c:pt>
                <c:pt idx="1">
                  <c:v>0.791829</c:v>
                </c:pt>
                <c:pt idx="2">
                  <c:v>0.314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15</c:v>
                </c:pt>
                <c:pt idx="1">
                  <c:v>0.122856</c:v>
                </c:pt>
                <c:pt idx="2">
                  <c:v>0.0338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901</c:v>
                </c:pt>
                <c:pt idx="1">
                  <c:v>0.076436</c:v>
                </c:pt>
                <c:pt idx="2">
                  <c:v>0.02378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203</c:v>
                </c:pt>
                <c:pt idx="1">
                  <c:v>0.163739</c:v>
                </c:pt>
                <c:pt idx="2">
                  <c:v>0.0688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759</c:v>
                </c:pt>
                <c:pt idx="1">
                  <c:v>0.052706</c:v>
                </c:pt>
                <c:pt idx="2">
                  <c:v>0.01868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582</c:v>
                </c:pt>
                <c:pt idx="1">
                  <c:v>0.041538</c:v>
                </c:pt>
                <c:pt idx="2">
                  <c:v>0.01944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99</c:v>
                </c:pt>
                <c:pt idx="1">
                  <c:v>0.048859</c:v>
                </c:pt>
                <c:pt idx="2">
                  <c:v>0.01500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299</c:v>
                </c:pt>
                <c:pt idx="1">
                  <c:v>0.036768</c:v>
                </c:pt>
                <c:pt idx="2">
                  <c:v>0.01319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44</c:v>
                </c:pt>
                <c:pt idx="1">
                  <c:v>0.029743</c:v>
                </c:pt>
                <c:pt idx="2">
                  <c:v>0.0116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8926</c:v>
                </c:pt>
                <c:pt idx="1">
                  <c:v>0.044288</c:v>
                </c:pt>
                <c:pt idx="2">
                  <c:v>0.014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7516</c:v>
                </c:pt>
                <c:pt idx="1">
                  <c:v>0.248541</c:v>
                </c:pt>
                <c:pt idx="2">
                  <c:v>0.0868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7.4</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374299</c:v>
                </c:pt>
                <c:pt idx="1">
                  <c:v>9.375514</c:v>
                </c:pt>
                <c:pt idx="2">
                  <c:v>2.6566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046212</c:v>
                </c:pt>
                <c:pt idx="1">
                  <c:v>4.748638</c:v>
                </c:pt>
                <c:pt idx="2">
                  <c:v>1.55497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232977</c:v>
                </c:pt>
                <c:pt idx="1">
                  <c:v>4.837657</c:v>
                </c:pt>
                <c:pt idx="2">
                  <c:v>2.0569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67137</c:v>
                </c:pt>
                <c:pt idx="1">
                  <c:v>2.105627</c:v>
                </c:pt>
                <c:pt idx="2">
                  <c:v>0.71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60519</c:v>
                </c:pt>
                <c:pt idx="1">
                  <c:v>2.491998</c:v>
                </c:pt>
                <c:pt idx="2">
                  <c:v>1.11559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081543</c:v>
                </c:pt>
                <c:pt idx="1">
                  <c:v>2.013018</c:v>
                </c:pt>
                <c:pt idx="2">
                  <c:v>0.640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185075</c:v>
                </c:pt>
                <c:pt idx="1">
                  <c:v>1.827476</c:v>
                </c:pt>
                <c:pt idx="2">
                  <c:v>0.67711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095217</c:v>
                </c:pt>
                <c:pt idx="1">
                  <c:v>1.822683</c:v>
                </c:pt>
                <c:pt idx="2">
                  <c:v>0.70724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126853</c:v>
                </c:pt>
                <c:pt idx="1">
                  <c:v>1.763374</c:v>
                </c:pt>
                <c:pt idx="2">
                  <c:v>0.58583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14.5</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6.044773</c:v>
                </c:pt>
                <c:pt idx="1">
                  <c:v>14.478885</c:v>
                </c:pt>
                <c:pt idx="2">
                  <c:v>5.2378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7374</c:v>
                </c:pt>
                <c:pt idx="1">
                  <c:v>2.284018</c:v>
                </c:pt>
                <c:pt idx="2">
                  <c:v>1.15329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109</c:v>
                </c:pt>
                <c:pt idx="1">
                  <c:v>0.942457</c:v>
                </c:pt>
                <c:pt idx="2">
                  <c:v>0.4795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23069</c:v>
                </c:pt>
                <c:pt idx="1">
                  <c:v>3.748229</c:v>
                </c:pt>
                <c:pt idx="2">
                  <c:v>1.6406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97664</c:v>
                </c:pt>
                <c:pt idx="1">
                  <c:v>0.838074</c:v>
                </c:pt>
                <c:pt idx="2">
                  <c:v>0.34992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92957</c:v>
                </c:pt>
                <c:pt idx="1">
                  <c:v>0.875396</c:v>
                </c:pt>
                <c:pt idx="2">
                  <c:v>0.3960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7383</c:v>
                </c:pt>
                <c:pt idx="1">
                  <c:v>0.399699</c:v>
                </c:pt>
                <c:pt idx="2">
                  <c:v>0.1972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67345</c:v>
                </c:pt>
                <c:pt idx="1">
                  <c:v>0.396598</c:v>
                </c:pt>
                <c:pt idx="2">
                  <c:v>0.1940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02247</c:v>
                </c:pt>
                <c:pt idx="1">
                  <c:v>0.434179</c:v>
                </c:pt>
                <c:pt idx="2">
                  <c:v>0.18642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0443</c:v>
                </c:pt>
                <c:pt idx="1">
                  <c:v>0.231537</c:v>
                </c:pt>
                <c:pt idx="2">
                  <c:v>0.10952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08522</c:v>
                </c:pt>
                <c:pt idx="1">
                  <c:v>7.544879</c:v>
                </c:pt>
                <c:pt idx="2">
                  <c:v>3.8254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26.3</a:t>
                    </a:r>
                  </a:p>
                </c:rich>
              </c:tx>
              <c:showLegendKey val="0"/>
              <c:showVal val="1"/>
              <c:showCatName val="0"/>
              <c:showSerName val="0"/>
              <c:showPercent val="0"/>
              <c:showBubbleSize val="0"/>
            </c:dLbl>
            <c:dLbl>
              <c:idx val="1"/>
              <c:tx>
                <c:rich>
                  <a:bodyPr/>
                  <a:lstStyle/>
                  <a:p>
                    <a:r>
                      <a:rPr>
                        <a:solidFill>
                          <a:srgbClr val="FFFFFF"/>
                        </a:solidFill>
                      </a:rPr>
                      <a:t>63.4</a:t>
                    </a:r>
                  </a:p>
                </c:rich>
              </c:tx>
              <c:showLegendKey val="0"/>
              <c:showVal val="1"/>
              <c:showCatName val="0"/>
              <c:showSerName val="0"/>
              <c:showPercent val="0"/>
              <c:showBubbleSize val="0"/>
            </c:dLbl>
            <c:dLbl>
              <c:idx val="2"/>
              <c:tx>
                <c:rich>
                  <a:bodyPr/>
                  <a:lstStyle/>
                  <a:p>
                    <a:r>
                      <a:rPr>
                        <a:solidFill>
                          <a:srgbClr val="FFFFFF"/>
                        </a:solidFill>
                      </a:rPr>
                      <a:t>3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306301</c:v>
                </c:pt>
                <c:pt idx="1">
                  <c:v>63.374345</c:v>
                </c:pt>
                <c:pt idx="2">
                  <c:v>31.594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tx>
                <c:rich>
                  <a:bodyPr/>
                  <a:lstStyle/>
                  <a:p>
                    <a:r>
                      <a:rPr>
                        <a:solidFill>
                          <a:srgbClr val="FFFFFF"/>
                        </a:solidFill>
                      </a:rPr>
                      <a:t>14.5</a:t>
                    </a:r>
                  </a:p>
                </c:rich>
              </c:tx>
              <c:showLegendKey val="0"/>
              <c:showVal val="1"/>
              <c:showCatName val="0"/>
              <c:showSerName val="0"/>
              <c:showPercent val="0"/>
              <c:showBubbleSize val="0"/>
            </c:dLbl>
            <c:dLbl>
              <c:idx val="1"/>
              <c:tx>
                <c:rich>
                  <a:bodyPr/>
                  <a:lstStyle/>
                  <a:p>
                    <a:r>
                      <a:rPr>
                        <a:solidFill>
                          <a:srgbClr val="FFFFFF"/>
                        </a:solidFill>
                      </a:rPr>
                      <a:t>36.2</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466623</c:v>
                </c:pt>
                <c:pt idx="1">
                  <c:v>36.193054</c:v>
                </c:pt>
                <c:pt idx="2">
                  <c:v>18.8033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tx>
                <c:rich>
                  <a:bodyPr/>
                  <a:lstStyle/>
                  <a:p>
                    <a:r>
                      <a:rPr>
                        <a:solidFill>
                          <a:srgbClr val="FFFFFF"/>
                        </a:solidFill>
                      </a:rPr>
                      <a:t>14.8</a:t>
                    </a:r>
                  </a:p>
                </c:rich>
              </c:tx>
              <c:showLegendKey val="0"/>
              <c:showVal val="1"/>
              <c:showCatName val="0"/>
              <c:showSerName val="0"/>
              <c:showPercent val="0"/>
              <c:showBubbleSize val="0"/>
            </c:dLbl>
            <c:dLbl>
              <c:idx val="1"/>
              <c:tx>
                <c:rich>
                  <a:bodyPr/>
                  <a:lstStyle/>
                  <a:p>
                    <a:r>
                      <a:rPr>
                        <a:solidFill>
                          <a:srgbClr val="FFFFFF"/>
                        </a:solidFill>
                      </a:rPr>
                      <a:t>31.2</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4.787397</c:v>
                </c:pt>
                <c:pt idx="1">
                  <c:v>31.24318</c:v>
                </c:pt>
                <c:pt idx="2">
                  <c:v>13.09572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6.0</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195567</c:v>
                </c:pt>
                <c:pt idx="1">
                  <c:v>26.046934</c:v>
                </c:pt>
                <c:pt idx="2">
                  <c:v>11.0983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122551</c:v>
                </c:pt>
                <c:pt idx="1">
                  <c:v>23.908319</c:v>
                </c:pt>
                <c:pt idx="2">
                  <c:v>11.64881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8.1</a:t>
                    </a:r>
                  </a:p>
                </c:rich>
              </c:tx>
              <c:showLegendKey val="0"/>
              <c:showVal val="1"/>
              <c:showCatName val="0"/>
              <c:showSerName val="0"/>
              <c:showPercent val="0"/>
              <c:showBubbleSize val="0"/>
            </c:dLbl>
            <c:dLbl>
              <c:idx val="1"/>
              <c:tx>
                <c:rich>
                  <a:bodyPr/>
                  <a:lstStyle/>
                  <a:p>
                    <a:r>
                      <a:rPr>
                        <a:solidFill>
                          <a:srgbClr val="FFFFFF"/>
                        </a:solidFill>
                      </a:rPr>
                      <a:t>19.9</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09705</c:v>
                </c:pt>
                <c:pt idx="1">
                  <c:v>19.880994</c:v>
                </c:pt>
                <c:pt idx="2">
                  <c:v>10.1235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0</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353485</c:v>
                </c:pt>
                <c:pt idx="1">
                  <c:v>14.970738</c:v>
                </c:pt>
                <c:pt idx="2">
                  <c:v>7.27368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6.7</a:t>
                    </a:r>
                  </a:p>
                </c:rich>
              </c:tx>
              <c:showLegendKey val="0"/>
              <c:showVal val="1"/>
              <c:showCatName val="0"/>
              <c:showSerName val="0"/>
              <c:showPercent val="0"/>
              <c:showBubbleSize val="0"/>
            </c:dLbl>
            <c:dLbl>
              <c:idx val="1"/>
              <c:tx>
                <c:rich>
                  <a:bodyPr/>
                  <a:lstStyle/>
                  <a:p>
                    <a:r>
                      <a:rPr>
                        <a:solidFill>
                          <a:srgbClr val="FFFFFF"/>
                        </a:solidFill>
                      </a:rPr>
                      <a:t>14.8</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52251</c:v>
                </c:pt>
                <c:pt idx="1">
                  <c:v>14.810567</c:v>
                </c:pt>
                <c:pt idx="2">
                  <c:v>6.6956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821444</c:v>
                </c:pt>
                <c:pt idx="1">
                  <c:v>13.59901</c:v>
                </c:pt>
                <c:pt idx="2">
                  <c:v>6.53887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2.6</a:t>
                    </a:r>
                  </a:p>
                </c:rich>
              </c:tx>
              <c:showLegendKey val="0"/>
              <c:showVal val="1"/>
              <c:showCatName val="0"/>
              <c:showSerName val="0"/>
              <c:showPercent val="0"/>
              <c:showBubbleSize val="0"/>
            </c:dLbl>
            <c:dLbl>
              <c:idx val="1"/>
              <c:tx>
                <c:rich>
                  <a:bodyPr/>
                  <a:lstStyle/>
                  <a:p>
                    <a:r>
                      <a:rPr>
                        <a:solidFill>
                          <a:srgbClr val="FFFFFF"/>
                        </a:solidFill>
                      </a:rPr>
                      <a:t>197.7</a:t>
                    </a:r>
                  </a:p>
                </c:rich>
              </c:tx>
              <c:showLegendKey val="0"/>
              <c:showVal val="1"/>
              <c:showCatName val="0"/>
              <c:showSerName val="0"/>
              <c:showPercent val="0"/>
              <c:showBubbleSize val="0"/>
            </c:dLbl>
            <c:dLbl>
              <c:idx val="2"/>
              <c:tx>
                <c:rich>
                  <a:bodyPr/>
                  <a:lstStyle/>
                  <a:p>
                    <a:r>
                      <a:rPr>
                        <a:solidFill>
                          <a:srgbClr val="FFFFFF"/>
                        </a:solidFill>
                      </a:rPr>
                      <a:t>9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2.579705</c:v>
                </c:pt>
                <c:pt idx="1">
                  <c:v>197.720321</c:v>
                </c:pt>
                <c:pt idx="2">
                  <c:v>97.8809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303</c:v>
                </c:pt>
                <c:pt idx="1">
                  <c:v>0.007359</c:v>
                </c:pt>
                <c:pt idx="2">
                  <c:v>0.0020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411</c:v>
                </c:pt>
                <c:pt idx="1">
                  <c:v>0.003373</c:v>
                </c:pt>
                <c:pt idx="2">
                  <c:v>0.0009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46</c:v>
                </c:pt>
                <c:pt idx="1">
                  <c:v>0.00726</c:v>
                </c:pt>
                <c:pt idx="2">
                  <c:v>0.0026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34</c:v>
                </c:pt>
                <c:pt idx="1">
                  <c:v>0.002598</c:v>
                </c:pt>
                <c:pt idx="2">
                  <c:v>0.0005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38</c:v>
                </c:pt>
                <c:pt idx="1">
                  <c:v>0.001754</c:v>
                </c:pt>
                <c:pt idx="2">
                  <c:v>0.00048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39</c:v>
                </c:pt>
                <c:pt idx="1">
                  <c:v>0.001601</c:v>
                </c:pt>
                <c:pt idx="2">
                  <c:v>0.00054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7</c:v>
                </c:pt>
                <c:pt idx="1">
                  <c:v>0.001951</c:v>
                </c:pt>
                <c:pt idx="2">
                  <c:v>0.0005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019</c:v>
                </c:pt>
                <c:pt idx="1">
                  <c:v>0.00094</c:v>
                </c:pt>
                <c:pt idx="2">
                  <c:v>0.00030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2335</c:v>
                </c:pt>
                <c:pt idx="1">
                  <c:v>0.010555</c:v>
                </c:pt>
                <c:pt idx="2">
                  <c:v>0.0029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9009</c:v>
                </c:pt>
                <c:pt idx="1">
                  <c:v>0.569492</c:v>
                </c:pt>
                <c:pt idx="2">
                  <c:v>0.1655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421</c:v>
                </c:pt>
                <c:pt idx="1">
                  <c:v>0.20861</c:v>
                </c:pt>
                <c:pt idx="2">
                  <c:v>0.0593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4361</c:v>
                </c:pt>
                <c:pt idx="1">
                  <c:v>0.213775</c:v>
                </c:pt>
                <c:pt idx="2">
                  <c:v>0.078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4383</c:v>
                </c:pt>
                <c:pt idx="1">
                  <c:v>0.109995</c:v>
                </c:pt>
                <c:pt idx="2">
                  <c:v>0.02335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3562</c:v>
                </c:pt>
                <c:pt idx="1">
                  <c:v>0.10964</c:v>
                </c:pt>
                <c:pt idx="2">
                  <c:v>0.02945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0643</c:v>
                </c:pt>
                <c:pt idx="1">
                  <c:v>0.095495</c:v>
                </c:pt>
                <c:pt idx="2">
                  <c:v>0.03162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7042</c:v>
                </c:pt>
                <c:pt idx="1">
                  <c:v>0.077158</c:v>
                </c:pt>
                <c:pt idx="2">
                  <c:v>0.0242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0039</c:v>
                </c:pt>
                <c:pt idx="1">
                  <c:v>0.075912</c:v>
                </c:pt>
                <c:pt idx="2">
                  <c:v>0.02492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7515</c:v>
                </c:pt>
                <c:pt idx="1">
                  <c:v>0.599976</c:v>
                </c:pt>
                <c:pt idx="2">
                  <c:v>0.175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c:v>
                </c:pt>
                <c:pt idx="1">
                  <c:v>0.004715</c:v>
                </c:pt>
                <c:pt idx="2">
                  <c:v>0.0012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949</c:v>
                </c:pt>
                <c:pt idx="1">
                  <c:v>0.00793</c:v>
                </c:pt>
                <c:pt idx="2">
                  <c:v>0.0029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553</c:v>
                </c:pt>
                <c:pt idx="1">
                  <c:v>0.00336</c:v>
                </c:pt>
                <c:pt idx="2">
                  <c:v>0.0008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869</c:v>
                </c:pt>
                <c:pt idx="1">
                  <c:v>0.00241</c:v>
                </c:pt>
                <c:pt idx="2">
                  <c:v>0.00074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66</c:v>
                </c:pt>
                <c:pt idx="1">
                  <c:v>0.002099</c:v>
                </c:pt>
                <c:pt idx="2">
                  <c:v>0.0006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01</c:v>
                </c:pt>
                <c:pt idx="1">
                  <c:v>0.001243</c:v>
                </c:pt>
                <c:pt idx="2">
                  <c:v>0.00054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33</c:v>
                </c:pt>
                <c:pt idx="1">
                  <c:v>0.001514</c:v>
                </c:pt>
                <c:pt idx="2">
                  <c:v>0.00057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03</c:v>
                </c:pt>
                <c:pt idx="1">
                  <c:v>0.000814</c:v>
                </c:pt>
                <c:pt idx="2">
                  <c:v>0.00029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613</c:v>
                </c:pt>
                <c:pt idx="1">
                  <c:v>0.001674</c:v>
                </c:pt>
                <c:pt idx="2">
                  <c:v>0.0005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195</c:v>
                </c:pt>
                <c:pt idx="1">
                  <c:v>0.009207</c:v>
                </c:pt>
                <c:pt idx="2">
                  <c:v>0.00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2298</c:v>
                </c:pt>
                <c:pt idx="1">
                  <c:v>0.361132</c:v>
                </c:pt>
                <c:pt idx="2">
                  <c:v>0.0986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4283</c:v>
                </c:pt>
                <c:pt idx="1">
                  <c:v>0.233207</c:v>
                </c:pt>
                <c:pt idx="2">
                  <c:v>0.0886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7363</c:v>
                </c:pt>
                <c:pt idx="1">
                  <c:v>0.209728</c:v>
                </c:pt>
                <c:pt idx="2">
                  <c:v>0.0580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2786</c:v>
                </c:pt>
                <c:pt idx="1">
                  <c:v>0.095136</c:v>
                </c:pt>
                <c:pt idx="2">
                  <c:v>0.02841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6291</c:v>
                </c:pt>
                <c:pt idx="1">
                  <c:v>0.083888</c:v>
                </c:pt>
                <c:pt idx="2">
                  <c:v>0.02584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471</c:v>
                </c:pt>
                <c:pt idx="1">
                  <c:v>0.077311</c:v>
                </c:pt>
                <c:pt idx="2">
                  <c:v>0.03261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7424</c:v>
                </c:pt>
                <c:pt idx="1">
                  <c:v>0.076337</c:v>
                </c:pt>
                <c:pt idx="2">
                  <c:v>0.02930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083</c:v>
                </c:pt>
                <c:pt idx="1">
                  <c:v>0.06697</c:v>
                </c:pt>
                <c:pt idx="2">
                  <c:v>0.02375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6937</c:v>
                </c:pt>
                <c:pt idx="1">
                  <c:v>0.069902</c:v>
                </c:pt>
                <c:pt idx="2">
                  <c:v>0.0227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3085</c:v>
                </c:pt>
                <c:pt idx="1">
                  <c:v>0.543738</c:v>
                </c:pt>
                <c:pt idx="2">
                  <c:v>0.1754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4</c:v>
                </c:pt>
                <c:pt idx="1">
                  <c:v>0.003429</c:v>
                </c:pt>
                <c:pt idx="2">
                  <c:v>0.0008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23</c:v>
                </c:pt>
                <c:pt idx="1">
                  <c:v>0.004817</c:v>
                </c:pt>
                <c:pt idx="2">
                  <c:v>0.0016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741</c:v>
                </c:pt>
                <c:pt idx="1">
                  <c:v>0.001515</c:v>
                </c:pt>
                <c:pt idx="2">
                  <c:v>0.0004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045</c:v>
                </c:pt>
                <c:pt idx="1">
                  <c:v>0.001431</c:v>
                </c:pt>
                <c:pt idx="2">
                  <c:v>0.00050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608</c:v>
                </c:pt>
                <c:pt idx="1">
                  <c:v>0.001841</c:v>
                </c:pt>
                <c:pt idx="2">
                  <c:v>0.00044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056</c:v>
                </c:pt>
                <c:pt idx="1">
                  <c:v>0.001406</c:v>
                </c:pt>
                <c:pt idx="2">
                  <c:v>0.00046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264</c:v>
                </c:pt>
                <c:pt idx="1">
                  <c:v>0.001065</c:v>
                </c:pt>
                <c:pt idx="2">
                  <c:v>0.00031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65</c:v>
                </c:pt>
                <c:pt idx="1">
                  <c:v>0.000882</c:v>
                </c:pt>
                <c:pt idx="2">
                  <c:v>0.0003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95</c:v>
                </c:pt>
                <c:pt idx="1">
                  <c:v>0.000882</c:v>
                </c:pt>
                <c:pt idx="2">
                  <c:v>0.0002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977</c:v>
                </c:pt>
                <c:pt idx="1">
                  <c:v>0.00624</c:v>
                </c:pt>
                <c:pt idx="2">
                  <c:v>0.0018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936</c:v>
                </c:pt>
                <c:pt idx="1">
                  <c:v>0.259649</c:v>
                </c:pt>
                <c:pt idx="2">
                  <c:v>0.0649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0897</c:v>
                </c:pt>
                <c:pt idx="1">
                  <c:v>0.141396</c:v>
                </c:pt>
                <c:pt idx="2">
                  <c:v>0.0491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995</c:v>
                </c:pt>
                <c:pt idx="1">
                  <c:v>0.094471</c:v>
                </c:pt>
                <c:pt idx="2">
                  <c:v>0.0285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196</c:v>
                </c:pt>
                <c:pt idx="1">
                  <c:v>0.056472</c:v>
                </c:pt>
                <c:pt idx="2">
                  <c:v>0.01897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066</c:v>
                </c:pt>
                <c:pt idx="1">
                  <c:v>0.073842</c:v>
                </c:pt>
                <c:pt idx="2">
                  <c:v>0.018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477</c:v>
                </c:pt>
                <c:pt idx="1">
                  <c:v>0.055783</c:v>
                </c:pt>
                <c:pt idx="2">
                  <c:v>0.01853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616</c:v>
                </c:pt>
                <c:pt idx="1">
                  <c:v>0.052373</c:v>
                </c:pt>
                <c:pt idx="2">
                  <c:v>0.01646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2484</c:v>
                </c:pt>
                <c:pt idx="1">
                  <c:v>0.050808</c:v>
                </c:pt>
                <c:pt idx="2">
                  <c:v>0.0172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038</c:v>
                </c:pt>
                <c:pt idx="1">
                  <c:v>0.04343</c:v>
                </c:pt>
                <c:pt idx="2">
                  <c:v>0.012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91</c:v>
                </c:pt>
                <c:pt idx="1">
                  <c:v>0.358342</c:v>
                </c:pt>
                <c:pt idx="2">
                  <c:v>0.1109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55</c:v>
                </c:pt>
                <c:pt idx="1">
                  <c:v>0.002017</c:v>
                </c:pt>
                <c:pt idx="2">
                  <c:v>0.0005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576</c:v>
                </c:pt>
                <c:pt idx="1">
                  <c:v>0.004204</c:v>
                </c:pt>
                <c:pt idx="2">
                  <c:v>0.001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88</c:v>
                </c:pt>
                <c:pt idx="1">
                  <c:v>0.00152</c:v>
                </c:pt>
                <c:pt idx="2">
                  <c:v>0.00043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49</c:v>
                </c:pt>
                <c:pt idx="1">
                  <c:v>0.001438</c:v>
                </c:pt>
                <c:pt idx="2">
                  <c:v>0.0003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875</c:v>
                </c:pt>
                <c:pt idx="1">
                  <c:v>0.000783</c:v>
                </c:pt>
                <c:pt idx="2">
                  <c:v>0.0003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51</c:v>
                </c:pt>
                <c:pt idx="1">
                  <c:v>0.000895</c:v>
                </c:pt>
                <c:pt idx="2">
                  <c:v>0.000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726</c:v>
                </c:pt>
                <c:pt idx="1">
                  <c:v>0.000601</c:v>
                </c:pt>
                <c:pt idx="2">
                  <c:v>0.00024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24</c:v>
                </c:pt>
                <c:pt idx="1">
                  <c:v>0.000555</c:v>
                </c:pt>
                <c:pt idx="2">
                  <c:v>0.00022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58</c:v>
                </c:pt>
                <c:pt idx="1">
                  <c:v>0.000785</c:v>
                </c:pt>
                <c:pt idx="2">
                  <c:v>0.0002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369</c:v>
                </c:pt>
                <c:pt idx="1">
                  <c:v>0.004984</c:v>
                </c:pt>
                <c:pt idx="2">
                  <c:v>0.0014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398</c:v>
                </c:pt>
                <c:pt idx="1">
                  <c:v>0.155813</c:v>
                </c:pt>
                <c:pt idx="2">
                  <c:v>0.0455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101</c:v>
                </c:pt>
                <c:pt idx="1">
                  <c:v>0.124075</c:v>
                </c:pt>
                <c:pt idx="2">
                  <c:v>0.0564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7542</c:v>
                </c:pt>
                <c:pt idx="1">
                  <c:v>0.094464</c:v>
                </c:pt>
                <c:pt idx="2">
                  <c:v>0.028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953</c:v>
                </c:pt>
                <c:pt idx="1">
                  <c:v>0.058739</c:v>
                </c:pt>
                <c:pt idx="2">
                  <c:v>0.01473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252</c:v>
                </c:pt>
                <c:pt idx="1">
                  <c:v>0.031182</c:v>
                </c:pt>
                <c:pt idx="2">
                  <c:v>0.01488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19</c:v>
                </c:pt>
                <c:pt idx="1">
                  <c:v>0.044092</c:v>
                </c:pt>
                <c:pt idx="2">
                  <c:v>0.01443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193</c:v>
                </c:pt>
                <c:pt idx="1">
                  <c:v>0.035974</c:v>
                </c:pt>
                <c:pt idx="2">
                  <c:v>0.01385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87</c:v>
                </c:pt>
                <c:pt idx="1">
                  <c:v>0.034279</c:v>
                </c:pt>
                <c:pt idx="2">
                  <c:v>0.0139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049</c:v>
                </c:pt>
                <c:pt idx="1">
                  <c:v>0.031303</c:v>
                </c:pt>
                <c:pt idx="2">
                  <c:v>0.01061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128</c:v>
                </c:pt>
                <c:pt idx="1">
                  <c:v>0.285369</c:v>
                </c:pt>
                <c:pt idx="2">
                  <c:v>0.0903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697</c:v>
                </c:pt>
                <c:pt idx="1">
                  <c:v>0.009592</c:v>
                </c:pt>
                <c:pt idx="2">
                  <c:v>0.004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14</c:v>
                </c:pt>
                <c:pt idx="1">
                  <c:v>0.003484</c:v>
                </c:pt>
                <c:pt idx="2">
                  <c:v>0.0013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38</c:v>
                </c:pt>
                <c:pt idx="1">
                  <c:v>0.000846</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482</c:v>
                </c:pt>
                <c:pt idx="1">
                  <c:v>0.001151</c:v>
                </c:pt>
                <c:pt idx="2">
                  <c:v>0.0004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6547</c:v>
                </c:pt>
                <c:pt idx="1">
                  <c:v>0.377587</c:v>
                </c:pt>
                <c:pt idx="2">
                  <c:v>0.18193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276</c:v>
                </c:pt>
                <c:pt idx="1">
                  <c:v>0.139769</c:v>
                </c:pt>
                <c:pt idx="2">
                  <c:v>0.0556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88</c:v>
                </c:pt>
                <c:pt idx="1">
                  <c:v>0.036422</c:v>
                </c:pt>
                <c:pt idx="2">
                  <c:v>0.00308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012</c:v>
                </c:pt>
                <c:pt idx="1">
                  <c:v>0.048982</c:v>
                </c:pt>
                <c:pt idx="2">
                  <c:v>0.017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47</c:v>
                </c:pt>
                <c:pt idx="1">
                  <c:v>0.005825</c:v>
                </c:pt>
                <c:pt idx="2">
                  <c:v>0.00253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2479</c:v>
                </c:pt>
                <c:pt idx="2">
                  <c:v>0.0009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7</c:v>
                </c:pt>
                <c:pt idx="1">
                  <c:v>0.000354</c:v>
                </c:pt>
                <c:pt idx="2">
                  <c:v>4.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06</c:v>
                </c:pt>
                <c:pt idx="1">
                  <c:v>0.000915</c:v>
                </c:pt>
                <c:pt idx="2">
                  <c:v>0.0004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18</c:v>
                </c:pt>
                <c:pt idx="1">
                  <c:v>0.229792</c:v>
                </c:pt>
                <c:pt idx="2">
                  <c:v>0.101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032</c:v>
                </c:pt>
                <c:pt idx="1">
                  <c:v>0.100359</c:v>
                </c:pt>
                <c:pt idx="2">
                  <c:v>0.03987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126</c:v>
                </c:pt>
                <c:pt idx="1">
                  <c:v>0.015135</c:v>
                </c:pt>
                <c:pt idx="2">
                  <c:v>0.002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577</c:v>
                </c:pt>
                <c:pt idx="1">
                  <c:v>0.039527</c:v>
                </c:pt>
                <c:pt idx="2">
                  <c:v>0.0187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466</c:v>
                </c:pt>
                <c:pt idx="2">
                  <c:v>0.0001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2e-05</c:v>
                </c:pt>
                <c:pt idx="1">
                  <c:v>3.9e-05</c:v>
                </c:pt>
                <c:pt idx="2">
                  <c:v>6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56</c:v>
                </c:pt>
                <c:pt idx="1">
                  <c:v>0.000411</c:v>
                </c:pt>
                <c:pt idx="2">
                  <c:v>0.0001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828</c:v>
                </c:pt>
                <c:pt idx="1">
                  <c:v>0.018344</c:v>
                </c:pt>
                <c:pt idx="2">
                  <c:v>0.0071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925</c:v>
                </c:pt>
                <c:pt idx="1">
                  <c:v>0.001537</c:v>
                </c:pt>
                <c:pt idx="2">
                  <c:v>0.000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026</c:v>
                </c:pt>
                <c:pt idx="1">
                  <c:v>0.016599</c:v>
                </c:pt>
                <c:pt idx="2">
                  <c:v>0.0053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24</c:v>
                </c:pt>
                <c:pt idx="1">
                  <c:v>0.000805</c:v>
                </c:pt>
                <c:pt idx="2">
                  <c:v>0.0002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3</c:v>
                </c:pt>
                <c:pt idx="1">
                  <c:v>8.7e-05</c:v>
                </c:pt>
                <c:pt idx="2">
                  <c:v>8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99</c:v>
                </c:pt>
                <c:pt idx="1">
                  <c:v>0.000359</c:v>
                </c:pt>
                <c:pt idx="2">
                  <c:v>0.0001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856</c:v>
                </c:pt>
                <c:pt idx="1">
                  <c:v>0.03179</c:v>
                </c:pt>
                <c:pt idx="2">
                  <c:v>0.0120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48</c:v>
                </c:pt>
                <c:pt idx="1">
                  <c:v>0.003488</c:v>
                </c:pt>
                <c:pt idx="2">
                  <c:v>0.000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171</c:v>
                </c:pt>
                <c:pt idx="1">
                  <c:v>0.014714</c:v>
                </c:pt>
                <c:pt idx="2">
                  <c:v>0.006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87</c:v>
                </c:pt>
                <c:pt idx="1">
                  <c:v>0.000877</c:v>
                </c:pt>
                <c:pt idx="2">
                  <c:v>0.0003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3</c:v>
                </c:pt>
                <c:pt idx="1">
                  <c:v>0.000325</c:v>
                </c:pt>
                <c:pt idx="2">
                  <c:v>0.0001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58</c:v>
                </c:pt>
                <c:pt idx="1">
                  <c:v>7.3e-05</c:v>
                </c:pt>
                <c:pt idx="2">
                  <c:v>1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9e-05</c:v>
                </c:pt>
                <c:pt idx="1">
                  <c:v>7.2e-05</c:v>
                </c:pt>
                <c:pt idx="2">
                  <c:v>3.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0516</c:v>
                </c:pt>
                <c:pt idx="1">
                  <c:v>0.034514</c:v>
                </c:pt>
                <c:pt idx="2">
                  <c:v>0.0158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85</c:v>
                </c:pt>
                <c:pt idx="1">
                  <c:v>0.013227</c:v>
                </c:pt>
                <c:pt idx="2">
                  <c:v>0.0044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817</c:v>
                </c:pt>
                <c:pt idx="1">
                  <c:v>0.002991</c:v>
                </c:pt>
                <c:pt idx="2">
                  <c:v>3.7e-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336</c:v>
                </c:pt>
                <c:pt idx="1">
                  <c:v>0.002947</c:v>
                </c:pt>
                <c:pt idx="2">
                  <c:v>0.0013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09</c:v>
                </c:pt>
                <c:pt idx="1">
                  <c:v>0.011887</c:v>
                </c:pt>
                <c:pt idx="2">
                  <c:v>0.0054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58</c:v>
                </c:pt>
                <c:pt idx="1">
                  <c:v>0.000714</c:v>
                </c:pt>
                <c:pt idx="2">
                  <c:v>8.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02</c:v>
                </c:pt>
                <c:pt idx="1">
                  <c:v>0.005422</c:v>
                </c:pt>
                <c:pt idx="2">
                  <c:v>0.001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0443</c:v>
                </c:pt>
                <c:pt idx="1">
                  <c:v>0.468257</c:v>
                </c:pt>
                <c:pt idx="2">
                  <c:v>0.2146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167</c:v>
                </c:pt>
                <c:pt idx="1">
                  <c:v>0.031032</c:v>
                </c:pt>
                <c:pt idx="2">
                  <c:v>0.0039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9749</c:v>
                </c:pt>
                <c:pt idx="1">
                  <c:v>0.221373</c:v>
                </c:pt>
                <c:pt idx="2">
                  <c:v>0.078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317</c:v>
                </c:pt>
                <c:pt idx="1">
                  <c:v>0.010514</c:v>
                </c:pt>
                <c:pt idx="2">
                  <c:v>0.0047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696</c:v>
                </c:pt>
                <c:pt idx="1">
                  <c:v>0.00322</c:v>
                </c:pt>
                <c:pt idx="2">
                  <c:v>0.00139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965</c:v>
                </c:pt>
                <c:pt idx="1">
                  <c:v>0.00071</c:v>
                </c:pt>
                <c:pt idx="2">
                  <c:v>6.9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863</c:v>
                </c:pt>
                <c:pt idx="1">
                  <c:v>0.000877</c:v>
                </c:pt>
                <c:pt idx="2">
                  <c:v>0.00048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1867</c:v>
                </c:pt>
                <c:pt idx="1">
                  <c:v>0.414981</c:v>
                </c:pt>
                <c:pt idx="2">
                  <c:v>0.1880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5646</c:v>
                </c:pt>
                <c:pt idx="1">
                  <c:v>0.130145</c:v>
                </c:pt>
                <c:pt idx="2">
                  <c:v>0.0569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121</c:v>
                </c:pt>
                <c:pt idx="1">
                  <c:v>0.030573</c:v>
                </c:pt>
                <c:pt idx="2">
                  <c:v>0.00323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5954</c:v>
                </c:pt>
                <c:pt idx="1">
                  <c:v>0.037771</c:v>
                </c:pt>
                <c:pt idx="2">
                  <c:v>0.0203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9</c:v>
                </c:pt>
                <c:pt idx="1">
                  <c:v>0.008918</c:v>
                </c:pt>
                <c:pt idx="2">
                  <c:v>0.0035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79</c:v>
                </c:pt>
                <c:pt idx="1">
                  <c:v>0.000746</c:v>
                </c:pt>
                <c:pt idx="2">
                  <c:v>0.0009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0345</c:v>
                </c:pt>
                <c:pt idx="1">
                  <c:v>0.359964</c:v>
                </c:pt>
                <c:pt idx="2">
                  <c:v>0.150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94</c:v>
                </c:pt>
                <c:pt idx="1">
                  <c:v>0.041879</c:v>
                </c:pt>
                <c:pt idx="2">
                  <c:v>0.0549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49</c:v>
                </c:pt>
                <c:pt idx="1">
                  <c:v>0.005258</c:v>
                </c:pt>
                <c:pt idx="2">
                  <c:v>0.0023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c:v>
                </c:pt>
                <c:pt idx="1">
                  <c:v>0.000525</c:v>
                </c:pt>
                <c:pt idx="2">
                  <c:v>0.0008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545</c:v>
                </c:pt>
                <c:pt idx="1">
                  <c:v>0.21952</c:v>
                </c:pt>
                <c:pt idx="2">
                  <c:v>0.1013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47</c:v>
                </c:pt>
                <c:pt idx="1">
                  <c:v>0.030186</c:v>
                </c:pt>
                <c:pt idx="2">
                  <c:v>0.0463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89</c:v>
                </c:pt>
                <c:pt idx="1">
                  <c:v>0.000725</c:v>
                </c:pt>
                <c:pt idx="2">
                  <c:v>0.00024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9e-05</c:v>
                </c:pt>
                <c:pt idx="1">
                  <c:v>8.3e-05</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0302</c:v>
                </c:pt>
                <c:pt idx="1">
                  <c:v>0.029101</c:v>
                </c:pt>
                <c:pt idx="2">
                  <c:v>0.0105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77</c:v>
                </c:pt>
                <c:pt idx="1">
                  <c:v>0.004619</c:v>
                </c:pt>
                <c:pt idx="2">
                  <c:v>0.005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454</c:v>
                </c:pt>
                <c:pt idx="1">
                  <c:v>0.034273</c:v>
                </c:pt>
                <c:pt idx="2">
                  <c:v>0.01554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074</c:v>
                </c:pt>
                <c:pt idx="1">
                  <c:v>0.00268</c:v>
                </c:pt>
                <c:pt idx="2">
                  <c:v>0.00529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0168</c:v>
                </c:pt>
                <c:pt idx="1">
                  <c:v>1.404095</c:v>
                </c:pt>
                <c:pt idx="2">
                  <c:v>0.652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4166</c:v>
                </c:pt>
                <c:pt idx="1">
                  <c:v>0.15449</c:v>
                </c:pt>
                <c:pt idx="2">
                  <c:v>0.3002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c:v>
                </c:pt>
                <c:pt idx="1">
                  <c:v>0.001247</c:v>
                </c:pt>
                <c:pt idx="2">
                  <c:v>0.0006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79</c:v>
                </c:pt>
                <c:pt idx="1">
                  <c:v>0.027566</c:v>
                </c:pt>
                <c:pt idx="2">
                  <c:v>0.0163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889</c:v>
                </c:pt>
                <c:pt idx="1">
                  <c:v>0.010619</c:v>
                </c:pt>
                <c:pt idx="2">
                  <c:v>0.0047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11</c:v>
                </c:pt>
                <c:pt idx="1">
                  <c:v>0.000788</c:v>
                </c:pt>
                <c:pt idx="2">
                  <c:v>0.001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9515</c:v>
                </c:pt>
                <c:pt idx="1">
                  <c:v>0.432545</c:v>
                </c:pt>
                <c:pt idx="2">
                  <c:v>0.2004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765</c:v>
                </c:pt>
                <c:pt idx="1">
                  <c:v>0.045351</c:v>
                </c:pt>
                <c:pt idx="2">
                  <c:v>0.0777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168</c:v>
                </c:pt>
                <c:pt idx="1">
                  <c:v>0.009188</c:v>
                </c:pt>
                <c:pt idx="2">
                  <c:v>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5</c:v>
                </c:pt>
                <c:pt idx="1">
                  <c:v>0.000722</c:v>
                </c:pt>
                <c:pt idx="2">
                  <c:v>0.00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667</c:v>
                </c:pt>
                <c:pt idx="1">
                  <c:v>0.375557</c:v>
                </c:pt>
                <c:pt idx="2">
                  <c:v>0.1476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115</c:v>
                </c:pt>
                <c:pt idx="1">
                  <c:v>0.041592</c:v>
                </c:pt>
                <c:pt idx="2">
                  <c:v>0.0649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8</c:v>
                </c:pt>
                <c:pt idx="1">
                  <c:v>0.000504</c:v>
                </c:pt>
                <c:pt idx="2">
                  <c:v>0.00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12</c:v>
                </c:pt>
                <c:pt idx="1">
                  <c:v>0.002293</c:v>
                </c:pt>
                <c:pt idx="2">
                  <c:v>0.0008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579</c:v>
                </c:pt>
                <c:pt idx="1">
                  <c:v>0.176973</c:v>
                </c:pt>
                <c:pt idx="2">
                  <c:v>0.0668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3001</c:v>
                </c:pt>
                <c:pt idx="1">
                  <c:v>0.276136</c:v>
                </c:pt>
                <c:pt idx="2">
                  <c:v>0.1086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87</c:v>
                </c:pt>
                <c:pt idx="1">
                  <c:v>0.000473</c:v>
                </c:pt>
                <c:pt idx="2">
                  <c:v>0.00025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93</c:v>
                </c:pt>
                <c:pt idx="1">
                  <c:v>0.000446</c:v>
                </c:pt>
                <c:pt idx="2">
                  <c:v>0.0002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354</c:v>
                </c:pt>
                <c:pt idx="1">
                  <c:v>0.000973</c:v>
                </c:pt>
                <c:pt idx="2">
                  <c:v>0.0005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198</c:v>
                </c:pt>
                <c:pt idx="1">
                  <c:v>0.171693</c:v>
                </c:pt>
                <c:pt idx="2">
                  <c:v>0.0832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986</c:v>
                </c:pt>
                <c:pt idx="1">
                  <c:v>0.116196</c:v>
                </c:pt>
                <c:pt idx="2">
                  <c:v>0.057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1422</c:v>
                </c:pt>
                <c:pt idx="1">
                  <c:v>0.103182</c:v>
                </c:pt>
                <c:pt idx="2">
                  <c:v>0.0527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e-05</c:v>
                </c:pt>
                <c:pt idx="1">
                  <c:v>7.1e-05</c:v>
                </c:pt>
                <c:pt idx="2">
                  <c:v>1.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43</c:v>
                </c:pt>
                <c:pt idx="1">
                  <c:v>0.000245</c:v>
                </c:pt>
                <c:pt idx="2">
                  <c:v>0.0001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721</c:v>
                </c:pt>
                <c:pt idx="1">
                  <c:v>0.022483</c:v>
                </c:pt>
                <c:pt idx="2">
                  <c:v>0.005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5068</c:v>
                </c:pt>
                <c:pt idx="1">
                  <c:v>0.028489</c:v>
                </c:pt>
                <c:pt idx="2">
                  <c:v>0.011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e-05</c:v>
                </c:pt>
                <c:pt idx="1">
                  <c:v>0.000116</c:v>
                </c:pt>
                <c:pt idx="2">
                  <c:v>3.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3e-05</c:v>
                </c:pt>
                <c:pt idx="1">
                  <c:v>5.9e-05</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52</c:v>
                </c:pt>
                <c:pt idx="1">
                  <c:v>0.00013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689</c:v>
                </c:pt>
                <c:pt idx="1">
                  <c:v>0.04277</c:v>
                </c:pt>
                <c:pt idx="2">
                  <c:v>0.0124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634</c:v>
                </c:pt>
                <c:pt idx="1">
                  <c:v>0.011773</c:v>
                </c:pt>
                <c:pt idx="2">
                  <c:v>0.009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3552</c:v>
                </c:pt>
                <c:pt idx="1">
                  <c:v>0.013413</c:v>
                </c:pt>
                <c:pt idx="2">
                  <c:v>0.0048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7</c:v>
                </c:pt>
                <c:pt idx="1">
                  <c:v>0.002055</c:v>
                </c:pt>
                <c:pt idx="2">
                  <c:v>0.0008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092</c:v>
                </c:pt>
                <c:pt idx="1">
                  <c:v>0.007741</c:v>
                </c:pt>
                <c:pt idx="2">
                  <c:v>0.003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86</c:v>
                </c:pt>
                <c:pt idx="1">
                  <c:v>0.732188</c:v>
                </c:pt>
                <c:pt idx="2">
                  <c:v>0.2956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5644</c:v>
                </c:pt>
                <c:pt idx="1">
                  <c:v>1.024462</c:v>
                </c:pt>
                <c:pt idx="2">
                  <c:v>0.424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e-05</c:v>
                </c:pt>
                <c:pt idx="1">
                  <c:v>6.1e-05</c:v>
                </c:pt>
                <c:pt idx="2">
                  <c:v>1.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71</c:v>
                </c:pt>
                <c:pt idx="1">
                  <c:v>0.000194</c:v>
                </c:pt>
                <c:pt idx="2">
                  <c:v>7.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49</c:v>
                </c:pt>
                <c:pt idx="1">
                  <c:v>0.019331</c:v>
                </c:pt>
                <c:pt idx="2">
                  <c:v>0.004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423</c:v>
                </c:pt>
                <c:pt idx="1">
                  <c:v>0.021802</c:v>
                </c:pt>
                <c:pt idx="2">
                  <c:v>0.0074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39</c:v>
                </c:pt>
                <c:pt idx="1">
                  <c:v>0.0006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824</c:v>
                </c:pt>
                <c:pt idx="1">
                  <c:v>0.002194</c:v>
                </c:pt>
                <c:pt idx="2">
                  <c:v>0.0009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2886</c:v>
                </c:pt>
                <c:pt idx="1">
                  <c:v>0.214716</c:v>
                </c:pt>
                <c:pt idx="2">
                  <c:v>0.0843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47562</c:v>
                </c:pt>
                <c:pt idx="1">
                  <c:v>0.287579</c:v>
                </c:pt>
                <c:pt idx="2">
                  <c:v>0.112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1</c:v>
                </c:pt>
                <c:pt idx="1">
                  <c:v>0.000469</c:v>
                </c:pt>
                <c:pt idx="2">
                  <c:v>0.00015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74</c:v>
                </c:pt>
                <c:pt idx="1">
                  <c:v>0.001818</c:v>
                </c:pt>
                <c:pt idx="2">
                  <c:v>0.0007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346</c:v>
                </c:pt>
                <c:pt idx="1">
                  <c:v>0.169416</c:v>
                </c:pt>
                <c:pt idx="2">
                  <c:v>0.0526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4234</c:v>
                </c:pt>
                <c:pt idx="1">
                  <c:v>0.230807</c:v>
                </c:pt>
                <c:pt idx="2">
                  <c:v>0.0901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23</c:v>
                </c:pt>
                <c:pt idx="1">
                  <c:v>0.001013</c:v>
                </c:pt>
                <c:pt idx="2">
                  <c:v>0.0003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3</c:v>
                </c:pt>
                <c:pt idx="1">
                  <c:v>0.000755</c:v>
                </c:pt>
                <c:pt idx="2">
                  <c:v>0.0003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698</c:v>
                </c:pt>
                <c:pt idx="1">
                  <c:v>0.002909</c:v>
                </c:pt>
                <c:pt idx="2">
                  <c:v>0.0013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0515</c:v>
                </c:pt>
                <c:pt idx="1">
                  <c:v>0.128464</c:v>
                </c:pt>
                <c:pt idx="2">
                  <c:v>0.0407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1331</c:v>
                </c:pt>
                <c:pt idx="1">
                  <c:v>0.028413</c:v>
                </c:pt>
                <c:pt idx="2">
                  <c:v>0.0133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8001</c:v>
                </c:pt>
                <c:pt idx="1">
                  <c:v>0.252172</c:v>
                </c:pt>
                <c:pt idx="2">
                  <c:v>0.124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1</c:v>
                </c:pt>
                <c:pt idx="1">
                  <c:v>0.000763</c:v>
                </c:pt>
                <c:pt idx="2">
                  <c:v>0.0002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47</c:v>
                </c:pt>
                <c:pt idx="1">
                  <c:v>0.000481</c:v>
                </c:pt>
                <c:pt idx="2">
                  <c:v>0.0001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33</c:v>
                </c:pt>
                <c:pt idx="1">
                  <c:v>0.000545</c:v>
                </c:pt>
                <c:pt idx="2">
                  <c:v>0.00020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018</c:v>
                </c:pt>
                <c:pt idx="1">
                  <c:v>0.001682</c:v>
                </c:pt>
                <c:pt idx="2">
                  <c:v>0.0005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2235</c:v>
                </c:pt>
                <c:pt idx="1">
                  <c:v>0.096886</c:v>
                </c:pt>
                <c:pt idx="2">
                  <c:v>0.0320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596</c:v>
                </c:pt>
                <c:pt idx="1">
                  <c:v>0.040801</c:v>
                </c:pt>
                <c:pt idx="2">
                  <c:v>0.013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2865</c:v>
                </c:pt>
                <c:pt idx="1">
                  <c:v>0.020789</c:v>
                </c:pt>
                <c:pt idx="2">
                  <c:v>0.00784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0552</c:v>
                </c:pt>
                <c:pt idx="1">
                  <c:v>0.109788</c:v>
                </c:pt>
                <c:pt idx="2">
                  <c:v>0.0376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1</c:v>
                </c:pt>
                <c:pt idx="1">
                  <c:v>0.000509</c:v>
                </c:pt>
                <c:pt idx="2">
                  <c:v>0.000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42</c:v>
                </c:pt>
                <c:pt idx="1">
                  <c:v>0.001577</c:v>
                </c:pt>
                <c:pt idx="2">
                  <c:v>0.0005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2593</c:v>
                </c:pt>
                <c:pt idx="1">
                  <c:v>0.064718</c:v>
                </c:pt>
                <c:pt idx="2">
                  <c:v>0.018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3814</c:v>
                </c:pt>
                <c:pt idx="1">
                  <c:v>0.115787</c:v>
                </c:pt>
                <c:pt idx="2">
                  <c:v>0.039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3</c:v>
                </c:pt>
                <c:pt idx="1">
                  <c:v>0.001419</c:v>
                </c:pt>
                <c:pt idx="2">
                  <c:v>0.0004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11</c:v>
                </c:pt>
                <c:pt idx="1">
                  <c:v>0.00144</c:v>
                </c:pt>
                <c:pt idx="2">
                  <c:v>0.00046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57</c:v>
                </c:pt>
                <c:pt idx="1">
                  <c:v>0.003745</c:v>
                </c:pt>
                <c:pt idx="2">
                  <c:v>0.0013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233</c:v>
                </c:pt>
                <c:pt idx="1">
                  <c:v>0.177447</c:v>
                </c:pt>
                <c:pt idx="2">
                  <c:v>0.0513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275</c:v>
                </c:pt>
                <c:pt idx="1">
                  <c:v>0.054687</c:v>
                </c:pt>
                <c:pt idx="2">
                  <c:v>0.017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753</c:v>
                </c:pt>
                <c:pt idx="1">
                  <c:v>0.268501</c:v>
                </c:pt>
                <c:pt idx="2">
                  <c:v>0.1018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4</c:v>
                </c:pt>
                <c:pt idx="1">
                  <c:v>0.000713</c:v>
                </c:pt>
                <c:pt idx="2">
                  <c:v>0.0002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4</c:v>
                </c:pt>
                <c:pt idx="1">
                  <c:v>0.000606</c:v>
                </c:pt>
                <c:pt idx="2">
                  <c:v>0.0001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44</c:v>
                </c:pt>
                <c:pt idx="1">
                  <c:v>0.000715</c:v>
                </c:pt>
                <c:pt idx="2">
                  <c:v>0.0002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203</c:v>
                </c:pt>
                <c:pt idx="1">
                  <c:v>0.001753</c:v>
                </c:pt>
                <c:pt idx="2">
                  <c:v>0.000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2</c:v>
                </c:pt>
                <c:pt idx="1">
                  <c:v>0.088877</c:v>
                </c:pt>
                <c:pt idx="2">
                  <c:v>0.0271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89</c:v>
                </c:pt>
                <c:pt idx="1">
                  <c:v>0.049683</c:v>
                </c:pt>
                <c:pt idx="2">
                  <c:v>0.0161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8551</c:v>
                </c:pt>
                <c:pt idx="1">
                  <c:v>0.027855</c:v>
                </c:pt>
                <c:pt idx="2">
                  <c:v>0.01146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3072</c:v>
                </c:pt>
                <c:pt idx="1">
                  <c:v>0.121016</c:v>
                </c:pt>
                <c:pt idx="2">
                  <c:v>0.0336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1</c:v>
                </c:pt>
                <c:pt idx="1">
                  <c:v>0.000109</c:v>
                </c:pt>
                <c:pt idx="2">
                  <c:v>2.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c:v>
                </c:pt>
                <c:pt idx="1">
                  <c:v>0.000117</c:v>
                </c:pt>
                <c:pt idx="2">
                  <c:v>2.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58</c:v>
                </c:pt>
                <c:pt idx="1">
                  <c:v>0.000356</c:v>
                </c:pt>
                <c:pt idx="2">
                  <c:v>0.0001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848</c:v>
                </c:pt>
                <c:pt idx="1">
                  <c:v>0.013524</c:v>
                </c:pt>
                <c:pt idx="2">
                  <c:v>0.00338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614</c:v>
                </c:pt>
                <c:pt idx="1">
                  <c:v>0.004221</c:v>
                </c:pt>
                <c:pt idx="2">
                  <c:v>0.0009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83</c:v>
                </c:pt>
                <c:pt idx="1">
                  <c:v>0.023281</c:v>
                </c:pt>
                <c:pt idx="2">
                  <c:v>0.0092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01</c:v>
                </c:pt>
                <c:pt idx="1">
                  <c:v>0.001808</c:v>
                </c:pt>
                <c:pt idx="2">
                  <c:v>0.00061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788</c:v>
                </c:pt>
                <c:pt idx="1">
                  <c:v>0.002189</c:v>
                </c:pt>
                <c:pt idx="2">
                  <c:v>0.00088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749</c:v>
                </c:pt>
                <c:pt idx="1">
                  <c:v>0.005999</c:v>
                </c:pt>
                <c:pt idx="2">
                  <c:v>0.0023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25</c:v>
                </c:pt>
                <c:pt idx="1">
                  <c:v>0.224139</c:v>
                </c:pt>
                <c:pt idx="2">
                  <c:v>0.075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922</c:v>
                </c:pt>
                <c:pt idx="1">
                  <c:v>0.082964</c:v>
                </c:pt>
                <c:pt idx="2">
                  <c:v>0.0332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8877</c:v>
                </c:pt>
                <c:pt idx="1">
                  <c:v>0.392601</c:v>
                </c:pt>
                <c:pt idx="2">
                  <c:v>0.1499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59098</c:v>
                </c:pt>
                <c:pt idx="1">
                  <c:v>1.334533</c:v>
                </c:pt>
                <c:pt idx="2">
                  <c:v>0.650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12.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228024</c:v>
                </c:pt>
                <c:pt idx="1">
                  <c:v>12.865496</c:v>
                </c:pt>
                <c:pt idx="2">
                  <c:v>6.478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36</c:v>
                </c:pt>
                <c:pt idx="1">
                  <c:v>0.001872</c:v>
                </c:pt>
                <c:pt idx="2">
                  <c:v>0.000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736</c:v>
                </c:pt>
                <c:pt idx="1">
                  <c:v>0.030364</c:v>
                </c:pt>
                <c:pt idx="2">
                  <c:v>0.0115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4</c:v>
                </c:pt>
                <c:pt idx="1">
                  <c:v>0.001773</c:v>
                </c:pt>
                <c:pt idx="2">
                  <c:v>0.000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5915</c:v>
                </c:pt>
                <c:pt idx="1">
                  <c:v>0.028707</c:v>
                </c:pt>
                <c:pt idx="2">
                  <c:v>0.006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82</c:v>
                </c:pt>
                <c:pt idx="1">
                  <c:v>0.002788</c:v>
                </c:pt>
                <c:pt idx="2">
                  <c:v>0.0009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129</c:v>
                </c:pt>
                <c:pt idx="1">
                  <c:v>0.04598</c:v>
                </c:pt>
                <c:pt idx="2">
                  <c:v>0.0163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87</c:v>
                </c:pt>
                <c:pt idx="1">
                  <c:v>0.002566</c:v>
                </c:pt>
                <c:pt idx="2">
                  <c:v>0.0006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274</c:v>
                </c:pt>
                <c:pt idx="1">
                  <c:v>0.041686</c:v>
                </c:pt>
                <c:pt idx="2">
                  <c:v>0.0128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212</c:v>
                </c:pt>
                <c:pt idx="1">
                  <c:v>0.007034</c:v>
                </c:pt>
                <c:pt idx="2">
                  <c:v>0.002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3731</c:v>
                </c:pt>
                <c:pt idx="1">
                  <c:v>0.115002</c:v>
                </c:pt>
                <c:pt idx="2">
                  <c:v>0.0452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64234</c:v>
                </c:pt>
                <c:pt idx="1">
                  <c:v>3.524744</c:v>
                </c:pt>
                <c:pt idx="2">
                  <c:v>1.8920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8284</c:v>
                </c:pt>
                <c:pt idx="1">
                  <c:v>2.65398</c:v>
                </c:pt>
                <c:pt idx="2">
                  <c:v>1.31327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7698</c:v>
                </c:pt>
                <c:pt idx="1">
                  <c:v>1.534852</c:v>
                </c:pt>
                <c:pt idx="2">
                  <c:v>0.84622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35144</c:v>
                </c:pt>
                <c:pt idx="1">
                  <c:v>1.38247</c:v>
                </c:pt>
                <c:pt idx="2">
                  <c:v>0.7420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421039</c:v>
                </c:pt>
                <c:pt idx="1">
                  <c:v>3.468409</c:v>
                </c:pt>
                <c:pt idx="2">
                  <c:v>1.748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24.2</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504072</c:v>
                </c:pt>
                <c:pt idx="1">
                  <c:v>24.166254</c:v>
                </c:pt>
                <c:pt idx="2">
                  <c:v>12.7670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591361</c:v>
                </c:pt>
                <c:pt idx="1">
                  <c:v>20.883421</c:v>
                </c:pt>
                <c:pt idx="2">
                  <c:v>10.509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252548</c:v>
                </c:pt>
                <c:pt idx="1">
                  <c:v>13.903604</c:v>
                </c:pt>
                <c:pt idx="2">
                  <c:v>7.6391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677497</c:v>
                </c:pt>
                <c:pt idx="1">
                  <c:v>12.055405</c:v>
                </c:pt>
                <c:pt idx="2">
                  <c:v>6.45565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9.7</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393855</c:v>
                </c:pt>
                <c:pt idx="1">
                  <c:v>29.73158</c:v>
                </c:pt>
                <c:pt idx="2">
                  <c:v>14.7526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19</c:v>
                </c:pt>
                <c:pt idx="1">
                  <c:v>0.007805</c:v>
                </c:pt>
                <c:pt idx="2">
                  <c:v>0.0036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1772</c:v>
                </c:pt>
                <c:pt idx="1">
                  <c:v>0.099342</c:v>
                </c:pt>
                <c:pt idx="2">
                  <c:v>0.0465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4</c:v>
                </c:pt>
                <c:pt idx="1">
                  <c:v>0.009141</c:v>
                </c:pt>
                <c:pt idx="2">
                  <c:v>0.002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337</c:v>
                </c:pt>
                <c:pt idx="1">
                  <c:v>0.108705</c:v>
                </c:pt>
                <c:pt idx="2">
                  <c:v>0.0284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28</c:v>
                </c:pt>
                <c:pt idx="1">
                  <c:v>0.011066</c:v>
                </c:pt>
                <c:pt idx="2">
                  <c:v>0.0043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102</c:v>
                </c:pt>
                <c:pt idx="1">
                  <c:v>0.122328</c:v>
                </c:pt>
                <c:pt idx="2">
                  <c:v>0.0494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344</c:v>
                </c:pt>
                <c:pt idx="1">
                  <c:v>0.007845</c:v>
                </c:pt>
                <c:pt idx="2">
                  <c:v>0.0024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292</c:v>
                </c:pt>
                <c:pt idx="1">
                  <c:v>0.077521</c:v>
                </c:pt>
                <c:pt idx="2">
                  <c:v>0.0267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54</c:v>
                </c:pt>
                <c:pt idx="1">
                  <c:v>0.001513</c:v>
                </c:pt>
                <c:pt idx="2">
                  <c:v>0.00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851</c:v>
                </c:pt>
                <c:pt idx="1">
                  <c:v>0.01847</c:v>
                </c:pt>
                <c:pt idx="2">
                  <c:v>0.0070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733</c:v>
                </c:pt>
                <c:pt idx="2">
                  <c:v>0.0003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6</c:v>
                </c:pt>
                <c:pt idx="1">
                  <c:v>0.008326</c:v>
                </c:pt>
                <c:pt idx="2">
                  <c:v>0.003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633</c:v>
                </c:pt>
                <c:pt idx="1">
                  <c:v>0.022082</c:v>
                </c:pt>
                <c:pt idx="2">
                  <c:v>0.0094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839</c:v>
                </c:pt>
                <c:pt idx="1">
                  <c:v>0.271073</c:v>
                </c:pt>
                <c:pt idx="2">
                  <c:v>0.11697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34955</c:v>
                </c:pt>
                <c:pt idx="1">
                  <c:v>3.730823</c:v>
                </c:pt>
                <c:pt idx="2">
                  <c:v>1.8786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664051</c:v>
                </c:pt>
                <c:pt idx="1">
                  <c:v>6.196595</c:v>
                </c:pt>
                <c:pt idx="2">
                  <c:v>2.970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26.5</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914122</c:v>
                </c:pt>
                <c:pt idx="1">
                  <c:v>26.545293</c:v>
                </c:pt>
                <c:pt idx="2">
                  <c:v>13.3767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8.7</a:t>
                    </a:r>
                  </a:p>
                </c:rich>
              </c:tx>
              <c:showLegendKey val="0"/>
              <c:showVal val="1"/>
              <c:showCatName val="0"/>
              <c:showSerName val="0"/>
              <c:showPercent val="0"/>
              <c:showBubbleSize val="0"/>
            </c:dLbl>
            <c:dLbl>
              <c:idx val="1"/>
              <c:tx>
                <c:rich>
                  <a:bodyPr/>
                  <a:lstStyle/>
                  <a:p>
                    <a:r>
                      <a:rPr>
                        <a:solidFill>
                          <a:srgbClr val="FFFFFF"/>
                        </a:solidFill>
                      </a:rPr>
                      <a:t>44.0</a:t>
                    </a:r>
                  </a:p>
                </c:rich>
              </c:tx>
              <c:showLegendKey val="0"/>
              <c:showVal val="1"/>
              <c:showCatName val="0"/>
              <c:showSerName val="0"/>
              <c:showPercent val="0"/>
              <c:showBubbleSize val="0"/>
            </c:dLbl>
            <c:dLbl>
              <c:idx val="2"/>
              <c:tx>
                <c:rich>
                  <a:bodyPr/>
                  <a:lstStyle/>
                  <a:p>
                    <a:r>
                      <a:rPr>
                        <a:solidFill>
                          <a:srgbClr val="FFFFFF"/>
                        </a:solidFill>
                      </a:rPr>
                      <a:t>2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671934</c:v>
                </c:pt>
                <c:pt idx="1">
                  <c:v>43.995359</c:v>
                </c:pt>
                <c:pt idx="2">
                  <c:v>21.4380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43</c:v>
                </c:pt>
                <c:pt idx="1">
                  <c:v>0.003103</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448</c:v>
                </c:pt>
                <c:pt idx="1">
                  <c:v>0.048145</c:v>
                </c:pt>
                <c:pt idx="2">
                  <c:v>0.0274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694</c:v>
                </c:pt>
                <c:pt idx="1">
                  <c:v>0.003169</c:v>
                </c:pt>
                <c:pt idx="2">
                  <c:v>0.001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1436</c:v>
                </c:pt>
                <c:pt idx="1">
                  <c:v>0.047294</c:v>
                </c:pt>
                <c:pt idx="2">
                  <c:v>0.017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737</c:v>
                </c:pt>
                <c:pt idx="1">
                  <c:v>0.002404</c:v>
                </c:pt>
                <c:pt idx="2">
                  <c:v>0.0010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618</c:v>
                </c:pt>
                <c:pt idx="1">
                  <c:v>0.03538</c:v>
                </c:pt>
                <c:pt idx="2">
                  <c:v>0.0153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43</c:v>
                </c:pt>
                <c:pt idx="1">
                  <c:v>0.000521</c:v>
                </c:pt>
                <c:pt idx="2">
                  <c:v>0.0001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1</c:v>
                </c:pt>
                <c:pt idx="1">
                  <c:v>0.007641</c:v>
                </c:pt>
                <c:pt idx="2">
                  <c:v>0.0031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07627</c:v>
                </c:pt>
                <c:pt idx="1">
                  <c:v>3.594186</c:v>
                </c:pt>
                <c:pt idx="2">
                  <c:v>1.7704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2408</c:v>
                </c:pt>
                <c:pt idx="1">
                  <c:v>2.2435</c:v>
                </c:pt>
                <c:pt idx="2">
                  <c:v>1.1305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20181</c:v>
                </c:pt>
                <c:pt idx="1">
                  <c:v>4.422877</c:v>
                </c:pt>
                <c:pt idx="2">
                  <c:v>2.0901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28.6</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956603</c:v>
                </c:pt>
                <c:pt idx="1">
                  <c:v>28.610549</c:v>
                </c:pt>
                <c:pt idx="2">
                  <c:v>14.1537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16.1</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463112</c:v>
                </c:pt>
                <c:pt idx="1">
                  <c:v>16.077611</c:v>
                </c:pt>
                <c:pt idx="2">
                  <c:v>8.3026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293502</c:v>
                </c:pt>
                <c:pt idx="1">
                  <c:v>26.302755</c:v>
                </c:pt>
                <c:pt idx="2">
                  <c:v>12.6012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81</c:v>
                </c:pt>
                <c:pt idx="1">
                  <c:v>0.001288</c:v>
                </c:pt>
                <c:pt idx="2">
                  <c:v>0.0004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725</c:v>
                </c:pt>
                <c:pt idx="1">
                  <c:v>0.024895</c:v>
                </c:pt>
                <c:pt idx="2">
                  <c:v>0.009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4</c:v>
                </c:pt>
                <c:pt idx="1">
                  <c:v>0.000401</c:v>
                </c:pt>
                <c:pt idx="2">
                  <c:v>0.0001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83</c:v>
                </c:pt>
                <c:pt idx="1">
                  <c:v>0.009376</c:v>
                </c:pt>
                <c:pt idx="2">
                  <c:v>0.0037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82</c:v>
                </c:pt>
                <c:pt idx="1">
                  <c:v>0.000411</c:v>
                </c:pt>
                <c:pt idx="2">
                  <c:v>0.0001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4</c:v>
                </c:pt>
                <c:pt idx="1">
                  <c:v>0.00958</c:v>
                </c:pt>
                <c:pt idx="2">
                  <c:v>0.0040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341</c:v>
                </c:pt>
                <c:pt idx="1">
                  <c:v>0.008547</c:v>
                </c:pt>
                <c:pt idx="2">
                  <c:v>0.003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325</c:v>
                </c:pt>
                <c:pt idx="1">
                  <c:v>0.113046</c:v>
                </c:pt>
                <c:pt idx="2">
                  <c:v>0.04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8</c:v>
                </c:pt>
                <c:pt idx="1">
                  <c:v>0.003767</c:v>
                </c:pt>
                <c:pt idx="2">
                  <c:v>0.0015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2998</c:v>
                </c:pt>
                <c:pt idx="1">
                  <c:v>0.087234</c:v>
                </c:pt>
                <c:pt idx="2">
                  <c:v>0.0351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134</c:v>
                </c:pt>
                <c:pt idx="1">
                  <c:v>0.008883</c:v>
                </c:pt>
                <c:pt idx="2">
                  <c:v>0.002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1904</c:v>
                </c:pt>
                <c:pt idx="1">
                  <c:v>0.120107</c:v>
                </c:pt>
                <c:pt idx="2">
                  <c:v>0.032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3018</c:v>
                </c:pt>
                <c:pt idx="1">
                  <c:v>1.400246</c:v>
                </c:pt>
                <c:pt idx="2">
                  <c:v>0.7365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208977</c:v>
                </c:pt>
                <c:pt idx="1">
                  <c:v>10.60131</c:v>
                </c:pt>
                <c:pt idx="2">
                  <c:v>5.5465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69</c:v>
                </c:pt>
                <c:pt idx="1">
                  <c:v>0.004391</c:v>
                </c:pt>
                <c:pt idx="2">
                  <c:v>0.001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4014</c:v>
                </c:pt>
                <c:pt idx="1">
                  <c:v>0.059534</c:v>
                </c:pt>
                <c:pt idx="2">
                  <c:v>0.0153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88</c:v>
                </c:pt>
                <c:pt idx="1">
                  <c:v>0.000243</c:v>
                </c:pt>
                <c:pt idx="2">
                  <c:v>9.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32</c:v>
                </c:pt>
                <c:pt idx="1">
                  <c:v>0.003301</c:v>
                </c:pt>
                <c:pt idx="2">
                  <c:v>0.0011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1</c:v>
                </c:pt>
                <c:pt idx="1">
                  <c:v>0.000184</c:v>
                </c:pt>
                <c:pt idx="2">
                  <c:v>5.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469</c:v>
                </c:pt>
                <c:pt idx="1">
                  <c:v>0.002399</c:v>
                </c:pt>
                <c:pt idx="2">
                  <c:v>0.0008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47</c:v>
                </c:pt>
                <c:pt idx="1">
                  <c:v>0.002808</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341</c:v>
                </c:pt>
                <c:pt idx="1">
                  <c:v>0.024579</c:v>
                </c:pt>
                <c:pt idx="2">
                  <c:v>0.009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36</c:v>
                </c:pt>
                <c:pt idx="1">
                  <c:v>0.000168</c:v>
                </c:pt>
                <c:pt idx="2">
                  <c:v>7.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503</c:v>
                </c:pt>
                <c:pt idx="1">
                  <c:v>0.002167</c:v>
                </c:pt>
                <c:pt idx="2">
                  <c:v>0.0009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7</c:v>
                </c:pt>
                <c:pt idx="1">
                  <c:v>8.6e-05</c:v>
                </c:pt>
                <c:pt idx="2">
                  <c:v>3.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67</c:v>
                </c:pt>
                <c:pt idx="1">
                  <c:v>0.001058</c:v>
                </c:pt>
                <c:pt idx="2">
                  <c:v>0.0004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277</c:v>
                </c:pt>
                <c:pt idx="1">
                  <c:v>0.001957</c:v>
                </c:pt>
                <c:pt idx="2">
                  <c:v>0.0004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267</c:v>
                </c:pt>
                <c:pt idx="1">
                  <c:v>0.026328</c:v>
                </c:pt>
                <c:pt idx="2">
                  <c:v>0.006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14</c:v>
                </c:pt>
                <c:pt idx="1">
                  <c:v>0.001463</c:v>
                </c:pt>
                <c:pt idx="2">
                  <c:v>0.00040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843</c:v>
                </c:pt>
                <c:pt idx="1">
                  <c:v>0.019607</c:v>
                </c:pt>
                <c:pt idx="2">
                  <c:v>0.0055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0767</c:v>
                </c:pt>
                <c:pt idx="1">
                  <c:v>1.181445</c:v>
                </c:pt>
                <c:pt idx="2">
                  <c:v>0.4366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74.9</a:t>
                    </a:r>
                  </a:p>
                </c:rich>
              </c:tx>
              <c:showLegendKey val="0"/>
              <c:showVal val="1"/>
              <c:showCatName val="0"/>
              <c:showSerName val="0"/>
              <c:showPercent val="0"/>
              <c:showBubbleSize val="0"/>
            </c:dLbl>
            <c:dLbl>
              <c:idx val="1"/>
              <c:tx>
                <c:rich>
                  <a:bodyPr/>
                  <a:lstStyle/>
                  <a:p>
                    <a:r>
                      <a:rPr>
                        <a:solidFill>
                          <a:srgbClr val="FFFFFF"/>
                        </a:solidFill>
                      </a:rPr>
                      <a:t>68.0</a:t>
                    </a:r>
                  </a:p>
                </c:rich>
              </c:tx>
              <c:showLegendKey val="0"/>
              <c:showVal val="1"/>
              <c:showCatName val="0"/>
              <c:showSerName val="0"/>
              <c:showPercent val="0"/>
              <c:showBubbleSize val="0"/>
            </c:dLbl>
            <c:dLbl>
              <c:idx val="2"/>
              <c:tx>
                <c:rich>
                  <a:bodyPr/>
                  <a:lstStyle/>
                  <a:p>
                    <a:r>
                      <a:rPr>
                        <a:solidFill>
                          <a:srgbClr val="FFFFFF"/>
                        </a:solidFill>
                      </a:rPr>
                      <a:t>2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4.863843</c:v>
                </c:pt>
                <c:pt idx="1">
                  <c:v>68.034384</c:v>
                </c:pt>
                <c:pt idx="2">
                  <c:v>24.883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ousseux</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2.9</a:t>
                    </a:r>
                  </a:p>
                </c:rich>
              </c:tx>
              <c:showLegendKey val="0"/>
              <c:showVal val="1"/>
              <c:showCatName val="0"/>
              <c:showSerName val="0"/>
              <c:showPercent val="0"/>
              <c:showBubbleSize val="0"/>
            </c:dLbl>
            <c:dLbl>
              <c:idx val="2"/>
              <c:tx>
                <c:rich>
                  <a:bodyPr/>
                  <a:lstStyle/>
                  <a:p>
                    <a:r>
                      <a:rPr>
                        <a:solidFill>
                          <a:srgbClr val="FFFFFF"/>
                        </a:solidFill>
                      </a:rPr>
                      <a:t>5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319573</c:v>
                </c:pt>
                <c:pt idx="1">
                  <c:v>112.88715</c:v>
                </c:pt>
                <c:pt idx="2">
                  <c:v>55.6516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ampagne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6</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353505</c:v>
                </c:pt>
                <c:pt idx="1">
                  <c:v>19.587825</c:v>
                </c:pt>
                <c:pt idx="2">
                  <c:v>9.46217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ousseux</c:v>
                </c:pt>
              </c:strCache>
            </c:strRef>
          </c:tx>
          <c:spPr>
            <a:solidFill>
              <a:srgbClr val="00504B"/>
            </a:solidFill>
            <a:ln>
              <a:solidFill>
                <a:schemeClr val="bg1"/>
              </a:solidFill>
            </a:ln>
            <a:effectLst/>
          </c:spPr>
          <c:invertIfNegative val="0"/>
          <c:dLbls>
            <c:dLbl>
              <c:idx val="0"/>
              <c:tx>
                <c:rich>
                  <a:bodyPr/>
                  <a:lstStyle/>
                  <a:p>
                    <a:r>
                      <a:rPr>
                        <a:solidFill>
                          <a:srgbClr val="FFFFFF"/>
                        </a:solidFill>
                      </a:rPr>
                      <a:t>239.6</a:t>
                    </a:r>
                  </a:p>
                </c:rich>
              </c:tx>
              <c:showLegendKey val="0"/>
              <c:showVal val="1"/>
              <c:showCatName val="0"/>
              <c:showSerName val="0"/>
              <c:showPercent val="0"/>
              <c:showBubbleSize val="0"/>
            </c:dLbl>
            <c:dLbl>
              <c:idx val="1"/>
              <c:tx>
                <c:rich>
                  <a:bodyPr/>
                  <a:lstStyle/>
                  <a:p>
                    <a:r>
                      <a:rPr>
                        <a:solidFill>
                          <a:srgbClr val="FFFFFF"/>
                        </a:solidFill>
                      </a:rPr>
                      <a:t>572.4</a:t>
                    </a:r>
                  </a:p>
                </c:rich>
              </c:tx>
              <c:showLegendKey val="0"/>
              <c:showVal val="1"/>
              <c:showCatName val="0"/>
              <c:showSerName val="0"/>
              <c:showPercent val="0"/>
              <c:showBubbleSize val="0"/>
            </c:dLbl>
            <c:dLbl>
              <c:idx val="2"/>
              <c:tx>
                <c:rich>
                  <a:bodyPr/>
                  <a:lstStyle/>
                  <a:p>
                    <a:r>
                      <a:rPr>
                        <a:solidFill>
                          <a:srgbClr val="FFFFFF"/>
                        </a:solidFill>
                      </a:rPr>
                      <a:t>28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9.648578</c:v>
                </c:pt>
                <c:pt idx="1">
                  <c:v>572.353065</c:v>
                </c:pt>
                <c:pt idx="2">
                  <c:v>282.5230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ampagnes</c:v>
                </c:pt>
              </c:strCache>
            </c:strRef>
          </c:tx>
          <c:spPr>
            <a:solidFill>
              <a:srgbClr val="006C6D"/>
            </a:solidFill>
            <a:ln>
              <a:solidFill>
                <a:schemeClr val="bg1"/>
              </a:solidFill>
            </a:ln>
            <a:effectLst/>
          </c:spPr>
          <c:invertIfNegative val="0"/>
          <c:dLbls>
            <c:dLbl>
              <c:idx val="0"/>
              <c:tx>
                <c:rich>
                  <a:bodyPr/>
                  <a:lstStyle/>
                  <a:p>
                    <a:r>
                      <a:rPr>
                        <a:solidFill>
                          <a:srgbClr val="FFFFFF"/>
                        </a:solidFill>
                      </a:rPr>
                      <a:t>216.9</a:t>
                    </a:r>
                  </a:p>
                </c:rich>
              </c:tx>
              <c:showLegendKey val="0"/>
              <c:showVal val="1"/>
              <c:showCatName val="0"/>
              <c:showSerName val="0"/>
              <c:showPercent val="0"/>
              <c:showBubbleSize val="0"/>
            </c:dLbl>
            <c:dLbl>
              <c:idx val="1"/>
              <c:tx>
                <c:rich>
                  <a:bodyPr/>
                  <a:lstStyle/>
                  <a:p>
                    <a:r>
                      <a:rPr>
                        <a:solidFill>
                          <a:srgbClr val="FFFFFF"/>
                        </a:solidFill>
                      </a:rPr>
                      <a:t>512.5</a:t>
                    </a:r>
                  </a:p>
                </c:rich>
              </c:tx>
              <c:showLegendKey val="0"/>
              <c:showVal val="1"/>
              <c:showCatName val="0"/>
              <c:showSerName val="0"/>
              <c:showPercent val="0"/>
              <c:showBubbleSize val="0"/>
            </c:dLbl>
            <c:dLbl>
              <c:idx val="2"/>
              <c:tx>
                <c:rich>
                  <a:bodyPr/>
                  <a:lstStyle/>
                  <a:p>
                    <a:r>
                      <a:rPr>
                        <a:solidFill>
                          <a:srgbClr val="FFFFFF"/>
                        </a:solidFill>
                      </a:rPr>
                      <a:t>24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16.903465</c:v>
                </c:pt>
                <c:pt idx="1">
                  <c:v>512.545028</c:v>
                </c:pt>
                <c:pt idx="2">
                  <c:v>249.86766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5</a:t>
                    </a:r>
                  </a:p>
                </c:rich>
              </c:tx>
              <c:showLegendKey val="0"/>
              <c:showVal val="1"/>
              <c:showCatName val="0"/>
              <c:showSerName val="0"/>
              <c:showPercent val="0"/>
              <c:showBubbleSize val="0"/>
            </c:dLbl>
            <c:dLbl>
              <c:idx val="2"/>
              <c:tx>
                <c:rich>
                  <a:bodyPr/>
                  <a:lstStyle/>
                  <a:p>
                    <a:r>
                      <a:rPr>
                        <a:solidFill>
                          <a:srgbClr val="FFFFFF"/>
                        </a:solidFill>
                      </a:rPr>
                      <a:t>1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98654</c:v>
                </c:pt>
                <c:pt idx="1">
                  <c:v>31.50949</c:v>
                </c:pt>
                <c:pt idx="2">
                  <c:v>15.9554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332638</c:v>
                </c:pt>
                <c:pt idx="1">
                  <c:v>3.169663</c:v>
                </c:pt>
                <c:pt idx="2">
                  <c:v>1.55636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92431</c:v>
                </c:pt>
                <c:pt idx="1">
                  <c:v>8.875658</c:v>
                </c:pt>
                <c:pt idx="2">
                  <c:v>4.27323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7465</c:v>
                </c:pt>
                <c:pt idx="1">
                  <c:v>1.891331</c:v>
                </c:pt>
                <c:pt idx="2">
                  <c:v>0.8995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095404</c:v>
                </c:pt>
                <c:pt idx="1">
                  <c:v>28.74877</c:v>
                </c:pt>
                <c:pt idx="2">
                  <c:v>14.11151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9415</c:v>
                </c:pt>
                <c:pt idx="1">
                  <c:v>0.046054</c:v>
                </c:pt>
                <c:pt idx="2">
                  <c:v>0.0152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2669</c:v>
                </c:pt>
                <c:pt idx="1">
                  <c:v>2.680994</c:v>
                </c:pt>
                <c:pt idx="2">
                  <c:v>0.8712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724</c:v>
                </c:pt>
                <c:pt idx="1">
                  <c:v>0.044196</c:v>
                </c:pt>
                <c:pt idx="2">
                  <c:v>0.0143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5876</c:v>
                </c:pt>
                <c:pt idx="1">
                  <c:v>2.579687</c:v>
                </c:pt>
                <c:pt idx="2">
                  <c:v>0.8369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a:solidFill>
                          <a:srgbClr val="FFFFFF"/>
                        </a:solidFill>
                      </a:rPr>
                      <a:t>27.4</a:t>
                    </a:r>
                  </a:p>
                </c:rich>
              </c:tx>
              <c:showLegendKey val="0"/>
              <c:showVal val="1"/>
              <c:showCatName val="0"/>
              <c:showSerName val="0"/>
              <c:showPercent val="0"/>
              <c:showBubbleSize val="0"/>
            </c:dLbl>
            <c:dLbl>
              <c:idx val="1"/>
              <c:tx>
                <c:rich>
                  <a:bodyPr/>
                  <a:lstStyle/>
                  <a:p>
                    <a:r>
                      <a:rPr>
                        <a:solidFill>
                          <a:srgbClr val="FFFFFF"/>
                        </a:solidFill>
                      </a:rPr>
                      <a:t>64.9</a:t>
                    </a:r>
                  </a:p>
                </c:rich>
              </c:tx>
              <c:showLegendKey val="0"/>
              <c:showVal val="1"/>
              <c:showCatName val="0"/>
              <c:showSerName val="0"/>
              <c:showPercent val="0"/>
              <c:showBubbleSize val="0"/>
            </c:dLbl>
            <c:dLbl>
              <c:idx val="2"/>
              <c:tx>
                <c:rich>
                  <a:bodyPr/>
                  <a:lstStyle/>
                  <a:p>
                    <a:r>
                      <a:rPr>
                        <a:solidFill>
                          <a:srgbClr val="FFFFFF"/>
                        </a:solidFill>
                      </a:rPr>
                      <a:t>3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409146</c:v>
                </c:pt>
                <c:pt idx="1">
                  <c:v>64.921065</c:v>
                </c:pt>
                <c:pt idx="2">
                  <c:v>31.7375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a:solidFill>
                          <a:srgbClr val="FFFFFF"/>
                        </a:solidFill>
                      </a:rPr>
                      <a:t>10.4</a:t>
                    </a:r>
                  </a:p>
                </c:rich>
              </c:tx>
              <c:showLegendKey val="0"/>
              <c:showVal val="1"/>
              <c:showCatName val="0"/>
              <c:showSerName val="0"/>
              <c:showPercent val="0"/>
              <c:showBubbleSize val="0"/>
            </c:dLbl>
            <c:dLbl>
              <c:idx val="1"/>
              <c:tx>
                <c:rich>
                  <a:bodyPr/>
                  <a:lstStyle/>
                  <a:p>
                    <a:r>
                      <a:rPr>
                        <a:solidFill>
                          <a:srgbClr val="FFFFFF"/>
                        </a:solidFill>
                      </a:rPr>
                      <a:t>25.0</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394156</c:v>
                </c:pt>
                <c:pt idx="1">
                  <c:v>25.019439</c:v>
                </c:pt>
                <c:pt idx="2">
                  <c:v>12.454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826806</c:v>
                </c:pt>
                <c:pt idx="1">
                  <c:v>20.615296</c:v>
                </c:pt>
                <c:pt idx="2">
                  <c:v>9.84880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36188</c:v>
                </c:pt>
                <c:pt idx="1">
                  <c:v>16.427165</c:v>
                </c:pt>
                <c:pt idx="2">
                  <c:v>7.76748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6.2</a:t>
                    </a:r>
                  </a:p>
                </c:rich>
              </c:tx>
              <c:showLegendKey val="0"/>
              <c:showVal val="1"/>
              <c:showCatName val="0"/>
              <c:showSerName val="0"/>
              <c:showPercent val="0"/>
              <c:showBubbleSize val="0"/>
            </c:dLbl>
            <c:dLbl>
              <c:idx val="1"/>
              <c:tx>
                <c:rich>
                  <a:bodyPr/>
                  <a:lstStyle/>
                  <a:p>
                    <a:r>
                      <a:rPr>
                        <a:solidFill>
                          <a:srgbClr val="FFFFFF"/>
                        </a:solidFill>
                      </a:rPr>
                      <a:t>206.5</a:t>
                    </a:r>
                  </a:p>
                </c:rich>
              </c:tx>
              <c:showLegendKey val="0"/>
              <c:showVal val="1"/>
              <c:showCatName val="0"/>
              <c:showSerName val="0"/>
              <c:showPercent val="0"/>
              <c:showBubbleSize val="0"/>
            </c:dLbl>
            <c:dLbl>
              <c:idx val="2"/>
              <c:tx>
                <c:rich>
                  <a:bodyPr/>
                  <a:lstStyle/>
                  <a:p>
                    <a:r>
                      <a:rPr>
                        <a:solidFill>
                          <a:srgbClr val="FFFFFF"/>
                        </a:solidFill>
                      </a:rPr>
                      <a:t>10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6.200545</c:v>
                </c:pt>
                <c:pt idx="1">
                  <c:v>206.471418</c:v>
                </c:pt>
                <c:pt idx="2">
                  <c:v>102.2738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17</c:v>
                </c:pt>
                <c:pt idx="1">
                  <c:v>0.006585</c:v>
                </c:pt>
                <c:pt idx="2">
                  <c:v>0.0019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482</c:v>
                </c:pt>
                <c:pt idx="1">
                  <c:v>0.003555</c:v>
                </c:pt>
                <c:pt idx="2">
                  <c:v>0.00145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5571</c:v>
                </c:pt>
                <c:pt idx="1">
                  <c:v>0.436071</c:v>
                </c:pt>
                <c:pt idx="2">
                  <c:v>0.10752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9368</c:v>
                </c:pt>
                <c:pt idx="1">
                  <c:v>0.060044</c:v>
                </c:pt>
                <c:pt idx="2">
                  <c:v>0.0254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6788</c:v>
                </c:pt>
                <c:pt idx="1">
                  <c:v>0.330215</c:v>
                </c:pt>
                <c:pt idx="2">
                  <c:v>0.1231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827</c:v>
                </c:pt>
                <c:pt idx="1">
                  <c:v>0.082326</c:v>
                </c:pt>
                <c:pt idx="2">
                  <c:v>0.0316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1.4</a:t>
                    </a:r>
                  </a:p>
                </c:rich>
              </c:tx>
              <c:showLegendKey val="0"/>
              <c:showVal val="1"/>
              <c:showCatName val="0"/>
              <c:showSerName val="0"/>
              <c:showPercent val="0"/>
              <c:showBubbleSize val="0"/>
            </c:dLbl>
            <c:dLbl>
              <c:idx val="1"/>
              <c:tx>
                <c:rich>
                  <a:bodyPr/>
                  <a:lstStyle/>
                  <a:p>
                    <a:r>
                      <a:rPr>
                        <a:solidFill>
                          <a:srgbClr val="FFFFFF"/>
                        </a:solidFill>
                      </a:rPr>
                      <a:t>20.2</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441877</c:v>
                </c:pt>
                <c:pt idx="1">
                  <c:v>20.206175</c:v>
                </c:pt>
                <c:pt idx="2">
                  <c:v>7.4564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6263</c:v>
                </c:pt>
                <c:pt idx="1">
                  <c:v>1.149408</c:v>
                </c:pt>
                <c:pt idx="2">
                  <c:v>0.4593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40864</c:v>
                </c:pt>
                <c:pt idx="1">
                  <c:v>0.118042</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35735</c:v>
                </c:pt>
                <c:pt idx="1">
                  <c:v>0.715071</c:v>
                </c:pt>
                <c:pt idx="2">
                  <c:v>0.2581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499</c:v>
                </c:pt>
                <c:pt idx="1">
                  <c:v>0.169849</c:v>
                </c:pt>
                <c:pt idx="2">
                  <c:v>0.058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909</c:v>
                </c:pt>
                <c:pt idx="1">
                  <c:v>0.021816</c:v>
                </c:pt>
                <c:pt idx="2">
                  <c:v>0.00761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656</c:v>
                </c:pt>
                <c:pt idx="1">
                  <c:v>0.013022</c:v>
                </c:pt>
                <c:pt idx="2">
                  <c:v>0.004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31</c:v>
                </c:pt>
                <c:pt idx="1">
                  <c:v>0.015073</c:v>
                </c:pt>
                <c:pt idx="2">
                  <c:v>0.0064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58</c:v>
                </c:pt>
                <c:pt idx="1">
                  <c:v>0.002797</c:v>
                </c:pt>
                <c:pt idx="2">
                  <c:v>0.0010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1398</c:v>
                </c:pt>
                <c:pt idx="1">
                  <c:v>0.009664</c:v>
                </c:pt>
                <c:pt idx="2">
                  <c:v>0.0045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292</c:v>
                </c:pt>
                <c:pt idx="1">
                  <c:v>0.00881</c:v>
                </c:pt>
                <c:pt idx="2">
                  <c:v>0.00331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105</c:v>
                </c:pt>
                <c:pt idx="1">
                  <c:v>0.008197</c:v>
                </c:pt>
                <c:pt idx="2">
                  <c:v>0.003656</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2233</c:v>
                </c:pt>
                <c:pt idx="1">
                  <c:v>0.002364</c:v>
                </c:pt>
                <c:pt idx="2">
                  <c:v>0.000836</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699</c:v>
                </c:pt>
                <c:pt idx="1">
                  <c:v>0.002025</c:v>
                </c:pt>
                <c:pt idx="2">
                  <c:v>0.00056</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985</c:v>
                </c:pt>
                <c:pt idx="1">
                  <c:v>0.000842</c:v>
                </c:pt>
                <c:pt idx="2">
                  <c:v>0.000278</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673</c:v>
                </c:pt>
                <c:pt idx="1">
                  <c:v>0.000595</c:v>
                </c:pt>
                <c:pt idx="2">
                  <c:v>0.000308</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944</c:v>
                </c:pt>
                <c:pt idx="1">
                  <c:v>0.004786</c:v>
                </c:pt>
                <c:pt idx="2">
                  <c:v>0.003277</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6e-05</c:v>
                </c:pt>
                <c:pt idx="1">
                  <c:v>8e-06</c:v>
                </c:pt>
                <c:pt idx="2">
                  <c:v>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9.2</a:t>
                    </a:r>
                  </a:p>
                </c:rich>
              </c:tx>
              <c:showLegendKey val="0"/>
              <c:showVal val="1"/>
              <c:showCatName val="0"/>
              <c:showSerName val="0"/>
              <c:showPercent val="0"/>
              <c:showBubbleSize val="0"/>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232135</c:v>
                </c:pt>
                <c:pt idx="1">
                  <c:v>8.639661</c:v>
                </c:pt>
                <c:pt idx="2">
                  <c:v>2.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57864</c:v>
                </c:pt>
                <c:pt idx="1">
                  <c:v>1.993627</c:v>
                </c:pt>
                <c:pt idx="2">
                  <c:v>0.65749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174</c:v>
                </c:pt>
                <c:pt idx="1">
                  <c:v>0.902339</c:v>
                </c:pt>
                <c:pt idx="2">
                  <c:v>0.3290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20715</c:v>
                </c:pt>
                <c:pt idx="1">
                  <c:v>0.60276</c:v>
                </c:pt>
                <c:pt idx="2">
                  <c:v>0.25821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7258</c:v>
                </c:pt>
                <c:pt idx="1">
                  <c:v>0.453109</c:v>
                </c:pt>
                <c:pt idx="2">
                  <c:v>0.1755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49139</c:v>
                </c:pt>
                <c:pt idx="1">
                  <c:v>0.401843</c:v>
                </c:pt>
                <c:pt idx="2">
                  <c:v>0.20529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7569</c:v>
                </c:pt>
                <c:pt idx="1">
                  <c:v>0.145661</c:v>
                </c:pt>
                <c:pt idx="2">
                  <c:v>0.05993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982</c:v>
                </c:pt>
                <c:pt idx="1">
                  <c:v>0.097748</c:v>
                </c:pt>
                <c:pt idx="2">
                  <c:v>0.04551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98986</c:v>
                </c:pt>
                <c:pt idx="1">
                  <c:v>0.112855</c:v>
                </c:pt>
                <c:pt idx="2">
                  <c:v>0.040479</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46697</c:v>
                </c:pt>
                <c:pt idx="1">
                  <c:v>0.027212</c:v>
                </c:pt>
                <c:pt idx="2">
                  <c:v>0.00741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45558</c:v>
                </c:pt>
                <c:pt idx="1">
                  <c:v>0.040566</c:v>
                </c:pt>
                <c:pt idx="2">
                  <c:v>0.013673</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40151</c:v>
                </c:pt>
                <c:pt idx="1">
                  <c:v>0.036498</c:v>
                </c:pt>
                <c:pt idx="2">
                  <c:v>0.01797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32239</c:v>
                </c:pt>
                <c:pt idx="1">
                  <c:v>0.09645</c:v>
                </c:pt>
                <c:pt idx="2">
                  <c:v>0.071941</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0124</c:v>
                </c:pt>
                <c:pt idx="1">
                  <c:v>5.4e-05</c:v>
                </c:pt>
                <c:pt idx="2">
                  <c:v>0.000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912</c:v>
                </c:pt>
                <c:pt idx="1">
                  <c:v>0.098946</c:v>
                </c:pt>
                <c:pt idx="2">
                  <c:v>0.0367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398</c:v>
                </c:pt>
                <c:pt idx="1">
                  <c:v>0.010338</c:v>
                </c:pt>
                <c:pt idx="2">
                  <c:v>0.00386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534</c:v>
                </c:pt>
                <c:pt idx="1">
                  <c:v>0.006771</c:v>
                </c:pt>
                <c:pt idx="2">
                  <c:v>0.00265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334</c:v>
                </c:pt>
                <c:pt idx="1">
                  <c:v>0.001892</c:v>
                </c:pt>
                <c:pt idx="2">
                  <c:v>0.0009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85</c:v>
                </c:pt>
                <c:pt idx="1">
                  <c:v>0.009573</c:v>
                </c:pt>
                <c:pt idx="2">
                  <c:v>0.00400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969</c:v>
                </c:pt>
                <c:pt idx="1">
                  <c:v>0.005783</c:v>
                </c:pt>
                <c:pt idx="2">
                  <c:v>0.00319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194</c:v>
                </c:pt>
                <c:pt idx="1">
                  <c:v>0.004456</c:v>
                </c:pt>
                <c:pt idx="2">
                  <c:v>0.00176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3506</c:v>
                </c:pt>
                <c:pt idx="1">
                  <c:v>0.003795</c:v>
                </c:pt>
                <c:pt idx="2">
                  <c:v>0.00150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915</c:v>
                </c:pt>
                <c:pt idx="1">
                  <c:v>0.000674</c:v>
                </c:pt>
                <c:pt idx="2">
                  <c:v>0.000401</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052</c:v>
                </c:pt>
                <c:pt idx="1">
                  <c:v>0.001038</c:v>
                </c:pt>
                <c:pt idx="2">
                  <c:v>0.000367</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2604</c:v>
                </c:pt>
                <c:pt idx="1">
                  <c:v>0.002867</c:v>
                </c:pt>
                <c:pt idx="2">
                  <c:v>0.001165</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368</c:v>
                </c:pt>
                <c:pt idx="1">
                  <c:v>0.000294</c:v>
                </c:pt>
                <c:pt idx="2">
                  <c:v>0.000124</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29</c:v>
                </c:pt>
                <c:pt idx="1">
                  <c:v>0.000847</c:v>
                </c:pt>
                <c:pt idx="2">
                  <c:v>0.000263</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807</c:v>
                </c:pt>
                <c:pt idx="1">
                  <c:v>0.002315</c:v>
                </c:pt>
                <c:pt idx="2">
                  <c:v>0.001527</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e-06</c:v>
                </c:pt>
                <c:pt idx="1">
                  <c:v>0.0</c:v>
                </c:pt>
                <c:pt idx="2">
                  <c:v>3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5.7</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720601</c:v>
                </c:pt>
                <c:pt idx="1">
                  <c:v>5.365196</c:v>
                </c:pt>
                <c:pt idx="2">
                  <c:v>1.9826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0408</c:v>
                </c:pt>
                <c:pt idx="1">
                  <c:v>1.090267</c:v>
                </c:pt>
                <c:pt idx="2">
                  <c:v>0.3903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34725</c:v>
                </c:pt>
                <c:pt idx="1">
                  <c:v>0.527592</c:v>
                </c:pt>
                <c:pt idx="2">
                  <c:v>0.196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6606</c:v>
                </c:pt>
                <c:pt idx="1">
                  <c:v>0.391071</c:v>
                </c:pt>
                <c:pt idx="2">
                  <c:v>0.19371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27915</c:v>
                </c:pt>
                <c:pt idx="1">
                  <c:v>0.384813</c:v>
                </c:pt>
                <c:pt idx="2">
                  <c:v>0.1616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23015</c:v>
                </c:pt>
                <c:pt idx="1">
                  <c:v>0.249706</c:v>
                </c:pt>
                <c:pt idx="2">
                  <c:v>0.14770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021</c:v>
                </c:pt>
                <c:pt idx="1">
                  <c:v>0.08345</c:v>
                </c:pt>
                <c:pt idx="2">
                  <c:v>0.03469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9059</c:v>
                </c:pt>
                <c:pt idx="1">
                  <c:v>0.062848</c:v>
                </c:pt>
                <c:pt idx="2">
                  <c:v>0.027729</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58428</c:v>
                </c:pt>
                <c:pt idx="1">
                  <c:v>0.0437</c:v>
                </c:pt>
                <c:pt idx="2">
                  <c:v>0.024799</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5075</c:v>
                </c:pt>
                <c:pt idx="1">
                  <c:v>0.060476</c:v>
                </c:pt>
                <c:pt idx="2">
                  <c:v>0.01881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9388</c:v>
                </c:pt>
                <c:pt idx="1">
                  <c:v>0.038105</c:v>
                </c:pt>
                <c:pt idx="2">
                  <c:v>0.01721</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6959</c:v>
                </c:pt>
                <c:pt idx="1">
                  <c:v>0.01429</c:v>
                </c:pt>
                <c:pt idx="2">
                  <c:v>0.00634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6465</c:v>
                </c:pt>
                <c:pt idx="1">
                  <c:v>0.011361</c:v>
                </c:pt>
                <c:pt idx="2">
                  <c:v>0.00363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4452</c:v>
                </c:pt>
                <c:pt idx="1">
                  <c:v>0.050883</c:v>
                </c:pt>
                <c:pt idx="2">
                  <c:v>0.038463</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0.0</c:v>
                </c:pt>
                <c:pt idx="2">
                  <c:v>4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101</c:v>
                </c:pt>
                <c:pt idx="1">
                  <c:v>0.018864</c:v>
                </c:pt>
                <c:pt idx="2">
                  <c:v>0.0063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996</c:v>
                </c:pt>
                <c:pt idx="1">
                  <c:v>0.001802</c:v>
                </c:pt>
                <c:pt idx="2">
                  <c:v>0.0006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48</c:v>
                </c:pt>
                <c:pt idx="1">
                  <c:v>0.001275</c:v>
                </c:pt>
                <c:pt idx="2">
                  <c:v>0.000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804</c:v>
                </c:pt>
                <c:pt idx="1">
                  <c:v>0.00147</c:v>
                </c:pt>
                <c:pt idx="2">
                  <c:v>0.00059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232</c:v>
                </c:pt>
                <c:pt idx="1">
                  <c:v>0.001054</c:v>
                </c:pt>
                <c:pt idx="2">
                  <c:v>0.0004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303</c:v>
                </c:pt>
                <c:pt idx="1">
                  <c:v>0.000316</c:v>
                </c:pt>
                <c:pt idx="2">
                  <c:v>0.0001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6</c:v>
                </c:pt>
                <c:pt idx="1">
                  <c:v>0.000781</c:v>
                </c:pt>
                <c:pt idx="2">
                  <c:v>0.000174</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132</c:v>
                </c:pt>
                <c:pt idx="1">
                  <c:v>0.000159</c:v>
                </c:pt>
                <c:pt idx="2">
                  <c:v>6.3e-0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589</c:v>
                </c:pt>
                <c:pt idx="1">
                  <c:v>0.000304</c:v>
                </c:pt>
                <c:pt idx="2">
                  <c:v>0.000101</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662</c:v>
                </c:pt>
                <c:pt idx="1">
                  <c:v>0.000751</c:v>
                </c:pt>
                <c:pt idx="2">
                  <c:v>0.00028</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121</c:v>
                </c:pt>
                <c:pt idx="1">
                  <c:v>0.000159</c:v>
                </c:pt>
                <c:pt idx="2">
                  <c:v>5.7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196</c:v>
                </c:pt>
                <c:pt idx="1">
                  <c:v>0.000491</c:v>
                </c:pt>
                <c:pt idx="2">
                  <c:v>0.000329</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6.5e-05</c:v>
                </c:pt>
                <c:pt idx="1">
                  <c:v>3.7e-05</c:v>
                </c:pt>
                <c:pt idx="2">
                  <c:v>2e-0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1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3859</c:v>
                </c:pt>
                <c:pt idx="1">
                  <c:v>0.981917</c:v>
                </c:pt>
                <c:pt idx="2">
                  <c:v>0.3262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384</c:v>
                </c:pt>
                <c:pt idx="1">
                  <c:v>0.169716</c:v>
                </c:pt>
                <c:pt idx="2">
                  <c:v>0.0598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134</c:v>
                </c:pt>
                <c:pt idx="1">
                  <c:v>0.090191</c:v>
                </c:pt>
                <c:pt idx="2">
                  <c:v>0.0310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62</c:v>
                </c:pt>
                <c:pt idx="1">
                  <c:v>0.059212</c:v>
                </c:pt>
                <c:pt idx="2">
                  <c:v>0.023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741</c:v>
                </c:pt>
                <c:pt idx="1">
                  <c:v>0.044333</c:v>
                </c:pt>
                <c:pt idx="2">
                  <c:v>0.02174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89</c:v>
                </c:pt>
                <c:pt idx="1">
                  <c:v>0.050972</c:v>
                </c:pt>
                <c:pt idx="2">
                  <c:v>0.0168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764</c:v>
                </c:pt>
                <c:pt idx="1">
                  <c:v>0.012277</c:v>
                </c:pt>
                <c:pt idx="2">
                  <c:v>0.003128</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8965</c:v>
                </c:pt>
                <c:pt idx="1">
                  <c:v>0.012516</c:v>
                </c:pt>
                <c:pt idx="2">
                  <c:v>0.004551</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7932</c:v>
                </c:pt>
                <c:pt idx="1">
                  <c:v>0.004639</c:v>
                </c:pt>
                <c:pt idx="2">
                  <c:v>0.001643</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467</c:v>
                </c:pt>
                <c:pt idx="1">
                  <c:v>0.007855</c:v>
                </c:pt>
                <c:pt idx="2">
                  <c:v>0.00319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5563</c:v>
                </c:pt>
                <c:pt idx="1">
                  <c:v>0.007448</c:v>
                </c:pt>
                <c:pt idx="2">
                  <c:v>0.002523</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3159</c:v>
                </c:pt>
                <c:pt idx="1">
                  <c:v>0.009002</c:v>
                </c:pt>
                <c:pt idx="2">
                  <c:v>0.00700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923</c:v>
                </c:pt>
                <c:pt idx="1">
                  <c:v>0.001577</c:v>
                </c:pt>
                <c:pt idx="2">
                  <c:v>0.001001</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7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977</c:v>
                </c:pt>
                <c:pt idx="1">
                  <c:v>0.013875</c:v>
                </c:pt>
                <c:pt idx="2">
                  <c:v>0.00446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307</c:v>
                </c:pt>
                <c:pt idx="1">
                  <c:v>0.00205</c:v>
                </c:pt>
                <c:pt idx="2">
                  <c:v>0.00083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5</c:v>
                </c:pt>
                <c:pt idx="1">
                  <c:v>0.001261</c:v>
                </c:pt>
                <c:pt idx="2">
                  <c:v>0.0004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79</c:v>
                </c:pt>
                <c:pt idx="1">
                  <c:v>0.000313</c:v>
                </c:pt>
                <c:pt idx="2">
                  <c:v>0.000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ousseux Italien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8</c:v>
                </c:pt>
                <c:pt idx="1">
                  <c:v>0.004255</c:v>
                </c:pt>
                <c:pt idx="2">
                  <c:v>0.00125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ru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051</c:v>
                </c:pt>
                <c:pt idx="1">
                  <c:v>0.000916</c:v>
                </c:pt>
                <c:pt idx="2">
                  <c:v>0.00031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888</c:v>
                </c:pt>
                <c:pt idx="1">
                  <c:v>0.000808</c:v>
                </c:pt>
                <c:pt idx="2">
                  <c:v>0.00034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076</c:v>
                </c:pt>
                <c:pt idx="1">
                  <c:v>0.001618</c:v>
                </c:pt>
                <c:pt idx="2">
                  <c:v>0.00044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197</c:v>
                </c:pt>
                <c:pt idx="1">
                  <c:v>0.000198</c:v>
                </c:pt>
                <c:pt idx="2">
                  <c:v>5.1e-0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125</c:v>
                </c:pt>
                <c:pt idx="1">
                  <c:v>0.000104</c:v>
                </c:pt>
                <c:pt idx="2">
                  <c:v>4.4e-05</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5.5e-05</c:v>
                </c:pt>
                <c:pt idx="1">
                  <c:v>4.3e-05</c:v>
                </c:pt>
                <c:pt idx="2">
                  <c:v>2.2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182</c:v>
                </c:pt>
                <c:pt idx="1">
                  <c:v>0.000381</c:v>
                </c:pt>
                <c:pt idx="2">
                  <c:v>0.000303</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166</c:v>
                </c:pt>
                <c:pt idx="1">
                  <c:v>0.000129</c:v>
                </c:pt>
                <c:pt idx="2">
                  <c:v>1.4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6095</c:v>
                </c:pt>
                <c:pt idx="1">
                  <c:v>0.75454</c:v>
                </c:pt>
                <c:pt idx="2">
                  <c:v>0.2457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5675</c:v>
                </c:pt>
                <c:pt idx="1">
                  <c:v>0.213875</c:v>
                </c:pt>
                <c:pt idx="2">
                  <c:v>0.0832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554</c:v>
                </c:pt>
                <c:pt idx="1">
                  <c:v>0.105271</c:v>
                </c:pt>
                <c:pt idx="2">
                  <c:v>0.0376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875</c:v>
                </c:pt>
                <c:pt idx="1">
                  <c:v>0.067956</c:v>
                </c:pt>
                <c:pt idx="2">
                  <c:v>0.02704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ousseux Italiens</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77</c:v>
                </c:pt>
                <c:pt idx="1">
                  <c:v>0.049149</c:v>
                </c:pt>
                <c:pt idx="2">
                  <c:v>0.0150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ru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79</c:v>
                </c:pt>
                <c:pt idx="1">
                  <c:v>0.03648</c:v>
                </c:pt>
                <c:pt idx="2">
                  <c:v>0.01277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179</c:v>
                </c:pt>
                <c:pt idx="1">
                  <c:v>0.03372</c:v>
                </c:pt>
                <c:pt idx="2">
                  <c:v>0.01632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168</c:v>
                </c:pt>
                <c:pt idx="1">
                  <c:v>0.023568</c:v>
                </c:pt>
                <c:pt idx="2">
                  <c:v>0.0063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9153</c:v>
                </c:pt>
                <c:pt idx="1">
                  <c:v>0.009878</c:v>
                </c:pt>
                <c:pt idx="2">
                  <c:v>0.00259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5887</c:v>
                </c:pt>
                <c:pt idx="1">
                  <c:v>0.004948</c:v>
                </c:pt>
                <c:pt idx="2">
                  <c:v>0.001769</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3728</c:v>
                </c:pt>
                <c:pt idx="1">
                  <c:v>0.002619</c:v>
                </c:pt>
                <c:pt idx="2">
                  <c:v>0.00129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3518</c:v>
                </c:pt>
                <c:pt idx="1">
                  <c:v>0.008909</c:v>
                </c:pt>
                <c:pt idx="2">
                  <c:v>0.008009</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6</c:v>
                </c:pt>
                <c:pt idx="1">
                  <c:v>0.001624</c:v>
                </c:pt>
                <c:pt idx="2">
                  <c:v>0.0001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2268</c:v>
                </c:pt>
                <c:pt idx="1">
                  <c:v>0.597878</c:v>
                </c:pt>
                <c:pt idx="2">
                  <c:v>0.22053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701</c:v>
                </c:pt>
                <c:pt idx="1">
                  <c:v>0.062943</c:v>
                </c:pt>
                <c:pt idx="2">
                  <c:v>0.02372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184</c:v>
                </c:pt>
                <c:pt idx="1">
                  <c:v>0.042717</c:v>
                </c:pt>
                <c:pt idx="2">
                  <c:v>0.017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309</c:v>
                </c:pt>
                <c:pt idx="1">
                  <c:v>0.058767</c:v>
                </c:pt>
                <c:pt idx="2">
                  <c:v>0.02580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562</c:v>
                </c:pt>
                <c:pt idx="1">
                  <c:v>0.009796</c:v>
                </c:pt>
                <c:pt idx="2">
                  <c:v>0.0042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28</c:v>
                </c:pt>
                <c:pt idx="1">
                  <c:v>0.036953</c:v>
                </c:pt>
                <c:pt idx="2">
                  <c:v>0.02084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844</c:v>
                </c:pt>
                <c:pt idx="1">
                  <c:v>0.043996</c:v>
                </c:pt>
                <c:pt idx="2">
                  <c:v>0.02149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717</c:v>
                </c:pt>
                <c:pt idx="1">
                  <c:v>0.006929</c:v>
                </c:pt>
                <c:pt idx="2">
                  <c:v>0.002501</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1134</c:v>
                </c:pt>
                <c:pt idx="1">
                  <c:v>0.011272</c:v>
                </c:pt>
                <c:pt idx="2">
                  <c:v>0.004638</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878</c:v>
                </c:pt>
                <c:pt idx="1">
                  <c:v>0.003066</c:v>
                </c:pt>
                <c:pt idx="2">
                  <c:v>0.001672</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9424</c:v>
                </c:pt>
                <c:pt idx="1">
                  <c:v>0.018014</c:v>
                </c:pt>
                <c:pt idx="2">
                  <c:v>0.008169</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6965</c:v>
                </c:pt>
                <c:pt idx="1">
                  <c:v>0.017008</c:v>
                </c:pt>
                <c:pt idx="2">
                  <c:v>0.012084</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38</c:v>
                </c:pt>
                <c:pt idx="1">
                  <c:v>0.001936</c:v>
                </c:pt>
                <c:pt idx="2">
                  <c:v>0.000728</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2.6e-05</c:v>
                </c:pt>
                <c:pt idx="1">
                  <c:v>1.4e-05</c:v>
                </c:pt>
                <c:pt idx="2">
                  <c:v>2.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33.4</a:t>
                    </a:r>
                  </a:p>
                </c:rich>
              </c:tx>
              <c:showLegendKey val="0"/>
              <c:showVal val="1"/>
              <c:showCatName val="0"/>
              <c:showSerName val="0"/>
              <c:showPercent val="0"/>
              <c:showBubbleSize val="0"/>
            </c:dLbl>
            <c:dLbl>
              <c:idx val="1"/>
              <c:tx>
                <c:rich>
                  <a:bodyPr/>
                  <a:lstStyle/>
                  <a:p>
                    <a:r>
                      <a:rPr>
                        <a:solidFill>
                          <a:srgbClr val="FFFFFF"/>
                        </a:solidFill>
                      </a:rPr>
                      <a:t>31.6</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444311</c:v>
                </c:pt>
                <c:pt idx="1">
                  <c:v>31.597166</c:v>
                </c:pt>
                <c:pt idx="2">
                  <c:v>11.5605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8.2</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195313</c:v>
                </c:pt>
                <c:pt idx="1">
                  <c:v>6.24945</c:v>
                </c:pt>
                <c:pt idx="2">
                  <c:v>2.2642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795316</c:v>
                </c:pt>
                <c:pt idx="1">
                  <c:v>3.250045</c:v>
                </c:pt>
                <c:pt idx="2">
                  <c:v>1.28950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677643</c:v>
                </c:pt>
                <c:pt idx="1">
                  <c:v>2.353456</c:v>
                </c:pt>
                <c:pt idx="2">
                  <c:v>1.0359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8873</c:v>
                </c:pt>
                <c:pt idx="1">
                  <c:v>1.75665</c:v>
                </c:pt>
                <c:pt idx="2">
                  <c:v>0.72002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814334</c:v>
                </c:pt>
                <c:pt idx="1">
                  <c:v>1.558585</c:v>
                </c:pt>
                <c:pt idx="2">
                  <c:v>0.95278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686517</c:v>
                </c:pt>
                <c:pt idx="1">
                  <c:v>0.687455</c:v>
                </c:pt>
                <c:pt idx="2">
                  <c:v>0.35201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3019</c:v>
                </c:pt>
                <c:pt idx="1">
                  <c:v>0.343224</c:v>
                </c:pt>
                <c:pt idx="2">
                  <c:v>0.122511</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258472</c:v>
                </c:pt>
                <c:pt idx="1">
                  <c:v>0.26146</c:v>
                </c:pt>
                <c:pt idx="2">
                  <c:v>0.108981</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239727</c:v>
                </c:pt>
                <c:pt idx="1">
                  <c:v>0.194942</c:v>
                </c:pt>
                <c:pt idx="2">
                  <c:v>0.101477</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180929</c:v>
                </c:pt>
                <c:pt idx="1">
                  <c:v>0.207661</c:v>
                </c:pt>
                <c:pt idx="2">
                  <c:v>0.10314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117857</c:v>
                </c:pt>
                <c:pt idx="1">
                  <c:v>0.36766</c:v>
                </c:pt>
                <c:pt idx="2">
                  <c:v>0.28790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109094</c:v>
                </c:pt>
                <c:pt idx="1">
                  <c:v>0.091201</c:v>
                </c:pt>
                <c:pt idx="2">
                  <c:v>0.034082</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0224</c:v>
                </c:pt>
                <c:pt idx="1">
                  <c:v>0.000118</c:v>
                </c:pt>
                <c:pt idx="2">
                  <c:v>0.000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071</c:v>
                </c:pt>
                <c:pt idx="1">
                  <c:v>0.017782</c:v>
                </c:pt>
                <c:pt idx="2">
                  <c:v>0.006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45</c:v>
                </c:pt>
                <c:pt idx="1">
                  <c:v>0.001928</c:v>
                </c:pt>
                <c:pt idx="2">
                  <c:v>0.0007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81</c:v>
                </c:pt>
                <c:pt idx="1">
                  <c:v>0.001211</c:v>
                </c:pt>
                <c:pt idx="2">
                  <c:v>0.0004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1</c:v>
                </c:pt>
                <c:pt idx="1">
                  <c:v>0.000319</c:v>
                </c:pt>
                <c:pt idx="2">
                  <c:v>0.0001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436</c:v>
                </c:pt>
                <c:pt idx="1">
                  <c:v>0.001251</c:v>
                </c:pt>
                <c:pt idx="2">
                  <c:v>0.000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054</c:v>
                </c:pt>
                <c:pt idx="1">
                  <c:v>0.000856</c:v>
                </c:pt>
                <c:pt idx="2">
                  <c:v>0.00036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326</c:v>
                </c:pt>
                <c:pt idx="1">
                  <c:v>0.001051</c:v>
                </c:pt>
                <c:pt idx="2">
                  <c:v>0.00042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293</c:v>
                </c:pt>
                <c:pt idx="1">
                  <c:v>0.000292</c:v>
                </c:pt>
                <c:pt idx="2">
                  <c:v>8e-0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12</c:v>
                </c:pt>
                <c:pt idx="1">
                  <c:v>0.000122</c:v>
                </c:pt>
                <c:pt idx="2">
                  <c:v>5.4e-0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467</c:v>
                </c:pt>
                <c:pt idx="1">
                  <c:v>0.000166</c:v>
                </c:pt>
                <c:pt idx="2">
                  <c:v>4.5e-05</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9.6e-05</c:v>
                </c:pt>
                <c:pt idx="1">
                  <c:v>0.000168</c:v>
                </c:pt>
                <c:pt idx="2">
                  <c:v>3.9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235</c:v>
                </c:pt>
                <c:pt idx="1">
                  <c:v>0.000498</c:v>
                </c:pt>
                <c:pt idx="2">
                  <c:v>0.00031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5.1e-05</c:v>
                </c:pt>
                <c:pt idx="1">
                  <c:v>6.5e-05</c:v>
                </c:pt>
                <c:pt idx="2">
                  <c:v>2.4e-0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2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8174</c:v>
                </c:pt>
                <c:pt idx="1">
                  <c:v>0.89529</c:v>
                </c:pt>
                <c:pt idx="2">
                  <c:v>0.30380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917</c:v>
                </c:pt>
                <c:pt idx="1">
                  <c:v>0.179197</c:v>
                </c:pt>
                <c:pt idx="2">
                  <c:v>0.0685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193</c:v>
                </c:pt>
                <c:pt idx="1">
                  <c:v>0.085192</c:v>
                </c:pt>
                <c:pt idx="2">
                  <c:v>0.0310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934</c:v>
                </c:pt>
                <c:pt idx="1">
                  <c:v>0.048551</c:v>
                </c:pt>
                <c:pt idx="2">
                  <c:v>0.01648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507</c:v>
                </c:pt>
                <c:pt idx="1">
                  <c:v>0.049992</c:v>
                </c:pt>
                <c:pt idx="2">
                  <c:v>0.019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078</c:v>
                </c:pt>
                <c:pt idx="1">
                  <c:v>0.036474</c:v>
                </c:pt>
                <c:pt idx="2">
                  <c:v>0.01633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825</c:v>
                </c:pt>
                <c:pt idx="1">
                  <c:v>0.010388</c:v>
                </c:pt>
                <c:pt idx="2">
                  <c:v>0.0042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815</c:v>
                </c:pt>
                <c:pt idx="1">
                  <c:v>0.006859</c:v>
                </c:pt>
                <c:pt idx="2">
                  <c:v>0.00193</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6805</c:v>
                </c:pt>
                <c:pt idx="1">
                  <c:v>0.006568</c:v>
                </c:pt>
                <c:pt idx="2">
                  <c:v>0.003002</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5831</c:v>
                </c:pt>
                <c:pt idx="1">
                  <c:v>0.002234</c:v>
                </c:pt>
                <c:pt idx="2">
                  <c:v>0.000618</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4321</c:v>
                </c:pt>
                <c:pt idx="1">
                  <c:v>0.007759</c:v>
                </c:pt>
                <c:pt idx="2">
                  <c:v>0.00180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3689</c:v>
                </c:pt>
                <c:pt idx="1">
                  <c:v>0.009418</c:v>
                </c:pt>
                <c:pt idx="2">
                  <c:v>0.00700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98</c:v>
                </c:pt>
                <c:pt idx="1">
                  <c:v>0.003109</c:v>
                </c:pt>
                <c:pt idx="2">
                  <c:v>0.00104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4.9e-05</c:v>
                </c:pt>
                <c:pt idx="1">
                  <c:v>1.4e-05</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6676</c:v>
                </c:pt>
                <c:pt idx="1">
                  <c:v>0.198227</c:v>
                </c:pt>
                <c:pt idx="2">
                  <c:v>0.0692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6189</c:v>
                </c:pt>
                <c:pt idx="1">
                  <c:v>0.020115</c:v>
                </c:pt>
                <c:pt idx="2">
                  <c:v>0.00748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628</c:v>
                </c:pt>
                <c:pt idx="1">
                  <c:v>0.01391</c:v>
                </c:pt>
                <c:pt idx="2">
                  <c:v>0.00566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1169</c:v>
                </c:pt>
                <c:pt idx="1">
                  <c:v>0.018023</c:v>
                </c:pt>
                <c:pt idx="2">
                  <c:v>0.00742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463</c:v>
                </c:pt>
                <c:pt idx="1">
                  <c:v>0.002804</c:v>
                </c:pt>
                <c:pt idx="2">
                  <c:v>0.00117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41</c:v>
                </c:pt>
                <c:pt idx="1">
                  <c:v>0.011407</c:v>
                </c:pt>
                <c:pt idx="2">
                  <c:v>0.0061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197</c:v>
                </c:pt>
                <c:pt idx="1">
                  <c:v>0.007776</c:v>
                </c:pt>
                <c:pt idx="2">
                  <c:v>0.00298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2087</c:v>
                </c:pt>
                <c:pt idx="1">
                  <c:v>0.00198</c:v>
                </c:pt>
                <c:pt idx="2">
                  <c:v>0.00076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4041</c:v>
                </c:pt>
                <c:pt idx="1">
                  <c:v>0.003954</c:v>
                </c:pt>
                <c:pt idx="2">
                  <c:v>0.00163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791</c:v>
                </c:pt>
                <c:pt idx="1">
                  <c:v>0.007218</c:v>
                </c:pt>
                <c:pt idx="2">
                  <c:v>0.003233</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1152</c:v>
                </c:pt>
                <c:pt idx="1">
                  <c:v>0.00088</c:v>
                </c:pt>
                <c:pt idx="2">
                  <c:v>0.000402</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3606</c:v>
                </c:pt>
                <c:pt idx="1">
                  <c:v>0.00202</c:v>
                </c:pt>
                <c:pt idx="2">
                  <c:v>0.000524</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845</c:v>
                </c:pt>
                <c:pt idx="1">
                  <c:v>0.000711</c:v>
                </c:pt>
                <c:pt idx="2">
                  <c:v>0.000271</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3</c:v>
                </c:pt>
                <c:pt idx="1">
                  <c:v>0.0053</c:v>
                </c:pt>
                <c:pt idx="2">
                  <c:v>0.003836</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0.0</c:v>
                </c:pt>
                <c:pt idx="2">
                  <c:v>6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874635</c:v>
                </c:pt>
                <c:pt idx="1">
                  <c:v>10.278034</c:v>
                </c:pt>
                <c:pt idx="2">
                  <c:v>3.5895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546676</c:v>
                </c:pt>
                <c:pt idx="1">
                  <c:v>1.935927</c:v>
                </c:pt>
                <c:pt idx="2">
                  <c:v>0.68146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37161</c:v>
                </c:pt>
                <c:pt idx="1">
                  <c:v>0.990536</c:v>
                </c:pt>
                <c:pt idx="2">
                  <c:v>0.3880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20359</c:v>
                </c:pt>
                <c:pt idx="1">
                  <c:v>0.720662</c:v>
                </c:pt>
                <c:pt idx="2">
                  <c:v>0.2974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80448</c:v>
                </c:pt>
                <c:pt idx="1">
                  <c:v>0.502295</c:v>
                </c:pt>
                <c:pt idx="2">
                  <c:v>0.19717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6028</c:v>
                </c:pt>
                <c:pt idx="1">
                  <c:v>0.477896</c:v>
                </c:pt>
                <c:pt idx="2">
                  <c:v>0.27821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18252</c:v>
                </c:pt>
                <c:pt idx="1">
                  <c:v>0.126054</c:v>
                </c:pt>
                <c:pt idx="2">
                  <c:v>0.0535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2766</c:v>
                </c:pt>
                <c:pt idx="1">
                  <c:v>0.094608</c:v>
                </c:pt>
                <c:pt idx="2">
                  <c:v>0.037339</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89617</c:v>
                </c:pt>
                <c:pt idx="1">
                  <c:v>0.087836</c:v>
                </c:pt>
                <c:pt idx="2">
                  <c:v>0.036637</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85397</c:v>
                </c:pt>
                <c:pt idx="1">
                  <c:v>0.091258</c:v>
                </c:pt>
                <c:pt idx="2">
                  <c:v>0.04330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71172</c:v>
                </c:pt>
                <c:pt idx="1">
                  <c:v>0.058509</c:v>
                </c:pt>
                <c:pt idx="2">
                  <c:v>0.025365</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45941</c:v>
                </c:pt>
                <c:pt idx="1">
                  <c:v>0.0283</c:v>
                </c:pt>
                <c:pt idx="2">
                  <c:v>0.007289</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8967</c:v>
                </c:pt>
                <c:pt idx="1">
                  <c:v>0.03275</c:v>
                </c:pt>
                <c:pt idx="2">
                  <c:v>0.01257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33602</c:v>
                </c:pt>
                <c:pt idx="1">
                  <c:v>0.11548</c:v>
                </c:pt>
                <c:pt idx="2">
                  <c:v>0.090605</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5.6e-05</c:v>
                </c:pt>
                <c:pt idx="1">
                  <c:v>0.0</c:v>
                </c:pt>
                <c:pt idx="2">
                  <c:v>8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8766</c:v>
                </c:pt>
                <c:pt idx="1">
                  <c:v>0.157818</c:v>
                </c:pt>
                <c:pt idx="2">
                  <c:v>0.0543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321</c:v>
                </c:pt>
                <c:pt idx="1">
                  <c:v>0.01687</c:v>
                </c:pt>
                <c:pt idx="2">
                  <c:v>0.00550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187</c:v>
                </c:pt>
                <c:pt idx="1">
                  <c:v>0.010543</c:v>
                </c:pt>
                <c:pt idx="2">
                  <c:v>0.003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841</c:v>
                </c:pt>
                <c:pt idx="1">
                  <c:v>0.015321</c:v>
                </c:pt>
                <c:pt idx="2">
                  <c:v>0.006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75</c:v>
                </c:pt>
                <c:pt idx="1">
                  <c:v>0.002287</c:v>
                </c:pt>
                <c:pt idx="2">
                  <c:v>0.00088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0933</c:v>
                </c:pt>
                <c:pt idx="1">
                  <c:v>0.00991</c:v>
                </c:pt>
                <c:pt idx="2">
                  <c:v>0.0046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491</c:v>
                </c:pt>
                <c:pt idx="1">
                  <c:v>0.02488</c:v>
                </c:pt>
                <c:pt idx="2">
                  <c:v>0.01133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734</c:v>
                </c:pt>
                <c:pt idx="1">
                  <c:v>0.008448</c:v>
                </c:pt>
                <c:pt idx="2">
                  <c:v>0.00298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639</c:v>
                </c:pt>
                <c:pt idx="1">
                  <c:v>0.006779</c:v>
                </c:pt>
                <c:pt idx="2">
                  <c:v>0.00261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7632</c:v>
                </c:pt>
                <c:pt idx="1">
                  <c:v>0.006962</c:v>
                </c:pt>
                <c:pt idx="2">
                  <c:v>0.00301</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504</c:v>
                </c:pt>
                <c:pt idx="1">
                  <c:v>0.001746</c:v>
                </c:pt>
                <c:pt idx="2">
                  <c:v>0.000603</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724</c:v>
                </c:pt>
                <c:pt idx="1">
                  <c:v>0.000598</c:v>
                </c:pt>
                <c:pt idx="2">
                  <c:v>0.000317</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698</c:v>
                </c:pt>
                <c:pt idx="1">
                  <c:v>0.001467</c:v>
                </c:pt>
                <c:pt idx="2">
                  <c:v>0.000444</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665</c:v>
                </c:pt>
                <c:pt idx="1">
                  <c:v>0.00064</c:v>
                </c:pt>
                <c:pt idx="2">
                  <c:v>0.0002</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688</c:v>
                </c:pt>
                <c:pt idx="1">
                  <c:v>0.004553</c:v>
                </c:pt>
                <c:pt idx="2">
                  <c:v>0.002899</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9e-06</c:v>
                </c:pt>
                <c:pt idx="1">
                  <c:v>3e-06</c:v>
                </c:pt>
                <c:pt idx="2">
                  <c:v>5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8.5</a:t>
                    </a:r>
                  </a:p>
                </c:rich>
              </c:tx>
              <c:showLegendKey val="0"/>
              <c:showVal val="1"/>
              <c:showCatName val="0"/>
              <c:showSerName val="0"/>
              <c:showPercent val="0"/>
              <c:showBubbleSize val="0"/>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5128</c:v>
                </c:pt>
                <c:pt idx="1">
                  <c:v>8.222532</c:v>
                </c:pt>
                <c:pt idx="2">
                  <c:v>2.80908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61278</c:v>
                </c:pt>
                <c:pt idx="1">
                  <c:v>1.651437</c:v>
                </c:pt>
                <c:pt idx="2">
                  <c:v>0.5075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49427</c:v>
                </c:pt>
                <c:pt idx="1">
                  <c:v>0.752142</c:v>
                </c:pt>
                <c:pt idx="2">
                  <c:v>0.26686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89588</c:v>
                </c:pt>
                <c:pt idx="1">
                  <c:v>0.61347</c:v>
                </c:pt>
                <c:pt idx="2">
                  <c:v>0.2685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5958</c:v>
                </c:pt>
                <c:pt idx="1">
                  <c:v>0.400223</c:v>
                </c:pt>
                <c:pt idx="2">
                  <c:v>0.1427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2782</c:v>
                </c:pt>
                <c:pt idx="1">
                  <c:v>0.417149</c:v>
                </c:pt>
                <c:pt idx="2">
                  <c:v>0.2125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13725</c:v>
                </c:pt>
                <c:pt idx="1">
                  <c:v>0.307856</c:v>
                </c:pt>
                <c:pt idx="2">
                  <c:v>0.14068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2361</c:v>
                </c:pt>
                <c:pt idx="1">
                  <c:v>0.142222</c:v>
                </c:pt>
                <c:pt idx="2">
                  <c:v>0.0547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7725</c:v>
                </c:pt>
                <c:pt idx="1">
                  <c:v>0.129024</c:v>
                </c:pt>
                <c:pt idx="2">
                  <c:v>0.05035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8154</c:v>
                </c:pt>
                <c:pt idx="1">
                  <c:v>0.086916</c:v>
                </c:pt>
                <c:pt idx="2">
                  <c:v>0.04154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68306</c:v>
                </c:pt>
                <c:pt idx="1">
                  <c:v>0.083544</c:v>
                </c:pt>
                <c:pt idx="2">
                  <c:v>0.029801</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45509</c:v>
                </c:pt>
                <c:pt idx="1">
                  <c:v>0.038176</c:v>
                </c:pt>
                <c:pt idx="2">
                  <c:v>0.019426</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3416</c:v>
                </c:pt>
                <c:pt idx="1">
                  <c:v>0.019872</c:v>
                </c:pt>
                <c:pt idx="2">
                  <c:v>0.005968</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0793</c:v>
                </c:pt>
                <c:pt idx="1">
                  <c:v>0.031164</c:v>
                </c:pt>
                <c:pt idx="2">
                  <c:v>0.00978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28895</c:v>
                </c:pt>
                <c:pt idx="1">
                  <c:v>0.094506</c:v>
                </c:pt>
                <c:pt idx="2">
                  <c:v>0.06393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7e-05</c:v>
                </c:pt>
                <c:pt idx="1">
                  <c:v>2.1e-05</c:v>
                </c:pt>
                <c:pt idx="2">
                  <c:v>5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3589767795546</c:v>
                </c:pt>
                <c:pt idx="1">
                  <c:v>0.24896980824823495</c:v>
                </c:pt>
                <c:pt idx="2">
                  <c:v>0.21308151460603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76904156820052</c:v>
                </c:pt>
                <c:pt idx="1">
                  <c:v>0.10679641719169117</c:v>
                </c:pt>
                <c:pt idx="2">
                  <c:v>0.102148418701102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93336214935537</c:v>
                </c:pt>
                <c:pt idx="1">
                  <c:v>0.07551343158942704</c:v>
                </c:pt>
                <c:pt idx="2">
                  <c:v>0.0601469454680658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05975807837637</c:v>
                </c:pt>
                <c:pt idx="1">
                  <c:v>0.08464473318563104</c:v>
                </c:pt>
                <c:pt idx="2">
                  <c:v>0.093449243082962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83940147229948</c:v>
                </c:pt>
                <c:pt idx="1">
                  <c:v>0.050535213564084774</c:v>
                </c:pt>
                <c:pt idx="2">
                  <c:v>0.0540583368361840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01921634024535</c:v>
                </c:pt>
                <c:pt idx="1">
                  <c:v>0.051701496709702546</c:v>
                </c:pt>
                <c:pt idx="2">
                  <c:v>0.06152824394237551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7217278721942</c:v>
                </c:pt>
                <c:pt idx="1">
                  <c:v>0.0431576381785561</c:v>
                </c:pt>
                <c:pt idx="2">
                  <c:v>0.05153343429577718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58083116745876</c:v>
                </c:pt>
                <c:pt idx="1">
                  <c:v>0.03849040959622565</c:v>
                </c:pt>
                <c:pt idx="2">
                  <c:v>0.0415703009509242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4841743212477</c:v>
                </c:pt>
                <c:pt idx="1">
                  <c:v>0.03613525656023711</c:v>
                </c:pt>
                <c:pt idx="2">
                  <c:v>0.041014703504115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9752274320051</c:v>
                </c:pt>
                <c:pt idx="1">
                  <c:v>0.2640555951762096</c:v>
                </c:pt>
                <c:pt idx="2">
                  <c:v>0.281468858612460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668494443992538</c:v>
                </c:pt>
                <c:pt idx="1">
                  <c:v>0.1256752951183347</c:v>
                </c:pt>
                <c:pt idx="2">
                  <c:v>0.102636196283725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56456183350246</c:v>
                </c:pt>
                <c:pt idx="1">
                  <c:v>0.06852090253910964</c:v>
                </c:pt>
                <c:pt idx="2">
                  <c:v>0.060544066041534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21506876167642</c:v>
                </c:pt>
                <c:pt idx="1">
                  <c:v>0.0752494281543466</c:v>
                </c:pt>
                <c:pt idx="2">
                  <c:v>0.059048351838002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81271727636286</c:v>
                </c:pt>
                <c:pt idx="1">
                  <c:v>0.12192956240876332</c:v>
                </c:pt>
                <c:pt idx="2">
                  <c:v>0.1294871426105965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340289288433666</c:v>
                </c:pt>
                <c:pt idx="1">
                  <c:v>0.03817859975402016</c:v>
                </c:pt>
                <c:pt idx="2">
                  <c:v>0.0378315020422251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119675854003619</c:v>
                </c:pt>
                <c:pt idx="1">
                  <c:v>0.056677375602018416</c:v>
                </c:pt>
                <c:pt idx="2">
                  <c:v>0.064588966231375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10789575801864</c:v>
                </c:pt>
                <c:pt idx="1">
                  <c:v>0.030807825377303186</c:v>
                </c:pt>
                <c:pt idx="2">
                  <c:v>0.037133981476154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0787735578583535</c:v>
                </c:pt>
                <c:pt idx="1">
                  <c:v>0.0315808227680778</c:v>
                </c:pt>
                <c:pt idx="2">
                  <c:v>0.03346300983719726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38017279429904</c:v>
                </c:pt>
                <c:pt idx="1">
                  <c:v>0.03922889918274923</c:v>
                </c:pt>
                <c:pt idx="2">
                  <c:v>0.0421352758442156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99098557291619</c:v>
                </c:pt>
                <c:pt idx="1">
                  <c:v>0.41215128909527704</c:v>
                </c:pt>
                <c:pt idx="2">
                  <c:v>0.43313150779497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91786195379625</c:v>
                </c:pt>
                <c:pt idx="1">
                  <c:v>0.28249189478788805</c:v>
                </c:pt>
                <c:pt idx="2">
                  <c:v>0.240604296470737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73046380335909</c:v>
                </c:pt>
                <c:pt idx="1">
                  <c:v>0.09088122167234543</c:v>
                </c:pt>
                <c:pt idx="2">
                  <c:v>0.088331372182355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721048236961994</c:v>
                </c:pt>
                <c:pt idx="1">
                  <c:v>0.09253586375479024</c:v>
                </c:pt>
                <c:pt idx="2">
                  <c:v>0.1079439351068667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1818989046915</c:v>
                </c:pt>
                <c:pt idx="1">
                  <c:v>0.07467475034958469</c:v>
                </c:pt>
                <c:pt idx="2">
                  <c:v>0.0604628210993911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51722172050714</c:v>
                </c:pt>
                <c:pt idx="1">
                  <c:v>0.048580943769274805</c:v>
                </c:pt>
                <c:pt idx="2">
                  <c:v>0.05832013448118094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0213713807143</c:v>
                </c:pt>
                <c:pt idx="1">
                  <c:v>0.04328730321081457</c:v>
                </c:pt>
                <c:pt idx="2">
                  <c:v>0.0452092856467246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4986150982044</c:v>
                </c:pt>
                <c:pt idx="1">
                  <c:v>0.03637374963029786</c:v>
                </c:pt>
                <c:pt idx="2">
                  <c:v>0.0419714612546140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4803868643704</c:v>
                </c:pt>
                <c:pt idx="1">
                  <c:v>0.03344895569291887</c:v>
                </c:pt>
                <c:pt idx="2">
                  <c:v>0.036987261371631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44936910029312</c:v>
                </c:pt>
                <c:pt idx="1">
                  <c:v>0.03352024908924451</c:v>
                </c:pt>
                <c:pt idx="2">
                  <c:v>0.0401644641812344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79371395849835</c:v>
                </c:pt>
                <c:pt idx="1">
                  <c:v>0.264205068042841</c:v>
                </c:pt>
                <c:pt idx="2">
                  <c:v>0.280004968205263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51812268208584</c:v>
                </c:pt>
                <c:pt idx="1">
                  <c:v>0.14085384136356296</c:v>
                </c:pt>
                <c:pt idx="2">
                  <c:v>0.113870908244552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1495076839224144</c:v>
                </c:pt>
                <c:pt idx="1">
                  <c:v>0.0595487958774164</c:v>
                </c:pt>
                <c:pt idx="2">
                  <c:v>0.0520126123119351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983542069030889</c:v>
                </c:pt>
                <c:pt idx="1">
                  <c:v>0.1360531665672704</c:v>
                </c:pt>
                <c:pt idx="2">
                  <c:v>0.15043431673063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24819602592509</c:v>
                </c:pt>
                <c:pt idx="1">
                  <c:v>0.0735949706588819</c:v>
                </c:pt>
                <c:pt idx="2">
                  <c:v>0.0589511404656718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737798736921925</c:v>
                </c:pt>
                <c:pt idx="1">
                  <c:v>0.0536080843758958</c:v>
                </c:pt>
                <c:pt idx="2">
                  <c:v>0.0617792494093468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47815680652156</c:v>
                </c:pt>
                <c:pt idx="1">
                  <c:v>0.03273486897815149</c:v>
                </c:pt>
                <c:pt idx="2">
                  <c:v>0.0308457099695231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937118617960353</c:v>
                </c:pt>
                <c:pt idx="1">
                  <c:v>0.02923238626815904</c:v>
                </c:pt>
                <c:pt idx="2">
                  <c:v>0.03255838464038223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4073367536761</c:v>
                </c:pt>
                <c:pt idx="1">
                  <c:v>0.037390568008461314</c:v>
                </c:pt>
                <c:pt idx="2">
                  <c:v>0.03840782736239317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24849224498501</c:v>
                </c:pt>
                <c:pt idx="1">
                  <c:v>0.02420765801534766</c:v>
                </c:pt>
                <c:pt idx="2">
                  <c:v>0.02864119026498151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286088368069956</c:v>
                </c:pt>
                <c:pt idx="1">
                  <c:v>0.41277565988685305</c:v>
                </c:pt>
                <c:pt idx="2">
                  <c:v>0.432498660600577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30632992245523</c:v>
                </c:pt>
                <c:pt idx="1">
                  <c:v>0.28773410083374656</c:v>
                </c:pt>
                <c:pt idx="2">
                  <c:v>0.250051266269457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49296746394871</c:v>
                </c:pt>
                <c:pt idx="1">
                  <c:v>0.10934769962698898</c:v>
                </c:pt>
                <c:pt idx="2">
                  <c:v>0.108960870446512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96769403461825</c:v>
                </c:pt>
                <c:pt idx="1">
                  <c:v>0.07536167488024532</c:v>
                </c:pt>
                <c:pt idx="2">
                  <c:v>0.0814623241004730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29288592361931</c:v>
                </c:pt>
                <c:pt idx="1">
                  <c:v>0.060836081286109955</c:v>
                </c:pt>
                <c:pt idx="2">
                  <c:v>0.048353635170584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75569002445893</c:v>
                </c:pt>
                <c:pt idx="1">
                  <c:v>0.05675472688827238</c:v>
                </c:pt>
                <c:pt idx="2">
                  <c:v>0.0666100493724505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512907819334644</c:v>
                </c:pt>
                <c:pt idx="1">
                  <c:v>0.05136586720244969</c:v>
                </c:pt>
                <c:pt idx="2">
                  <c:v>0.05857788996024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58366574135107</c:v>
                </c:pt>
                <c:pt idx="1">
                  <c:v>0.04273056474423593</c:v>
                </c:pt>
                <c:pt idx="2">
                  <c:v>0.0487323989507059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2388162646087</c:v>
                </c:pt>
                <c:pt idx="1">
                  <c:v>0.03349128366335874</c:v>
                </c:pt>
                <c:pt idx="2">
                  <c:v>0.03892803932041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557741354032815</c:v>
                </c:pt>
                <c:pt idx="1">
                  <c:v>0.033167839038082146</c:v>
                </c:pt>
                <c:pt idx="2">
                  <c:v>0.03537683297257069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65492667876231</c:v>
                </c:pt>
                <c:pt idx="1">
                  <c:v>0.2492101618365103</c:v>
                </c:pt>
                <c:pt idx="2">
                  <c:v>0.26294669343658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7388105326394</c:v>
                </c:pt>
                <c:pt idx="1">
                  <c:v>0.1528796360480221</c:v>
                </c:pt>
                <c:pt idx="2">
                  <c:v>0.1285724727724581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8176564718</c:v>
                </c:pt>
                <c:pt idx="1">
                  <c:v>0.07308747546178446</c:v>
                </c:pt>
                <c:pt idx="2">
                  <c:v>0.06565309553395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203023907368914</c:v>
                </c:pt>
                <c:pt idx="1">
                  <c:v>0.12005522190701982</c:v>
                </c:pt>
                <c:pt idx="2">
                  <c:v>0.12617498720853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314150376659347</c:v>
                </c:pt>
                <c:pt idx="1">
                  <c:v>0.06433818175463532</c:v>
                </c:pt>
                <c:pt idx="2">
                  <c:v>0.0508003800891747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556387260035835</c:v>
                </c:pt>
                <c:pt idx="1">
                  <c:v>0.040863046175533435</c:v>
                </c:pt>
                <c:pt idx="2">
                  <c:v>0.05145822673781156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40846672798125</c:v>
                </c:pt>
                <c:pt idx="1">
                  <c:v>0.0400883084504663</c:v>
                </c:pt>
                <c:pt idx="2">
                  <c:v>0.043505591696513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4523899394474246</c:v>
                </c:pt>
                <c:pt idx="1">
                  <c:v>0.05129579253339236</c:v>
                </c:pt>
                <c:pt idx="2">
                  <c:v>0.0566040494115927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590916582049004</c:v>
                </c:pt>
                <c:pt idx="1">
                  <c:v>0.03912134256805168</c:v>
                </c:pt>
                <c:pt idx="2">
                  <c:v>0.0436225422118266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20031791431196</c:v>
                </c:pt>
                <c:pt idx="1">
                  <c:v>0.029096352907596507</c:v>
                </c:pt>
                <c:pt idx="2">
                  <c:v>0.0302317082084642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14174831606424</c:v>
                </c:pt>
                <c:pt idx="1">
                  <c:v>0.389174642193498</c:v>
                </c:pt>
                <c:pt idx="2">
                  <c:v>0.40337694612966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804939540994503</c:v>
                </c:pt>
                <c:pt idx="1">
                  <c:v>0.27739773454749744</c:v>
                </c:pt>
                <c:pt idx="2">
                  <c:v>0.240029752219794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68794740572835</c:v>
                </c:pt>
                <c:pt idx="1">
                  <c:v>0.10862152310526385</c:v>
                </c:pt>
                <c:pt idx="2">
                  <c:v>0.1006629166472967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83032790928942</c:v>
                </c:pt>
                <c:pt idx="1">
                  <c:v>0.09308801818633151</c:v>
                </c:pt>
                <c:pt idx="2">
                  <c:v>0.0998856399051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57784632481429</c:v>
                </c:pt>
                <c:pt idx="1">
                  <c:v>0.07302164852823977</c:v>
                </c:pt>
                <c:pt idx="2">
                  <c:v>0.059917251638696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8472595466029</c:v>
                </c:pt>
                <c:pt idx="1">
                  <c:v>0.045414222442873756</c:v>
                </c:pt>
                <c:pt idx="2">
                  <c:v>0.0550230114824973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99603258061417</c:v>
                </c:pt>
                <c:pt idx="1">
                  <c:v>0.04795599743928091</c:v>
                </c:pt>
                <c:pt idx="2">
                  <c:v>0.057174468876388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8563757831629</c:v>
                </c:pt>
                <c:pt idx="1">
                  <c:v>0.04542598084686639</c:v>
                </c:pt>
                <c:pt idx="2">
                  <c:v>0.046770489516991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205111427881505</c:v>
                </c:pt>
                <c:pt idx="1">
                  <c:v>0.03339517382840569</c:v>
                </c:pt>
                <c:pt idx="2">
                  <c:v>0.0365227093115150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50171497415205</c:v>
                </c:pt>
                <c:pt idx="1">
                  <c:v>0.03590428659149998</c:v>
                </c:pt>
                <c:pt idx="2">
                  <c:v>0.04174050485797963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481872684265596</c:v>
                </c:pt>
                <c:pt idx="1">
                  <c:v>0.2397754144837407</c:v>
                </c:pt>
                <c:pt idx="2">
                  <c:v>0.26227325554367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64703437629876</c:v>
                </c:pt>
                <c:pt idx="1">
                  <c:v>0.1405284207974791</c:v>
                </c:pt>
                <c:pt idx="2">
                  <c:v>0.117798225980270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9930534940331</c:v>
                </c:pt>
                <c:pt idx="1">
                  <c:v>0.07144588534723063</c:v>
                </c:pt>
                <c:pt idx="2">
                  <c:v>0.059437950758517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829840289734608</c:v>
                </c:pt>
                <c:pt idx="1">
                  <c:v>0.1364077081565871</c:v>
                </c:pt>
                <c:pt idx="2">
                  <c:v>0.140595208488767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9748857091967</c:v>
                </c:pt>
                <c:pt idx="1">
                  <c:v>0.0742940249666707</c:v>
                </c:pt>
                <c:pt idx="2">
                  <c:v>0.0599353394677940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93932197352016</c:v>
                </c:pt>
                <c:pt idx="1">
                  <c:v>0.04947885104835777</c:v>
                </c:pt>
                <c:pt idx="2">
                  <c:v>0.05877476581281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656237012408715</c:v>
                </c:pt>
                <c:pt idx="1">
                  <c:v>0.03314749727305781</c:v>
                </c:pt>
                <c:pt idx="2">
                  <c:v>0.0405371798060184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25755506738704</c:v>
                </c:pt>
                <c:pt idx="1">
                  <c:v>0.033662586353169315</c:v>
                </c:pt>
                <c:pt idx="2">
                  <c:v>0.0311696924479814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06150923232203</c:v>
                </c:pt>
                <c:pt idx="1">
                  <c:v>0.036692522118531086</c:v>
                </c:pt>
                <c:pt idx="2">
                  <c:v>0.03738705131393517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420471412456212</c:v>
                </c:pt>
                <c:pt idx="1">
                  <c:v>0.02778451096836747</c:v>
                </c:pt>
                <c:pt idx="2">
                  <c:v>0.03034071126585426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0713055868907</c:v>
                </c:pt>
                <c:pt idx="1">
                  <c:v>0.396557992970549</c:v>
                </c:pt>
                <c:pt idx="2">
                  <c:v>0.42402387465804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927819879451216</c:v>
                </c:pt>
                <c:pt idx="1">
                  <c:v>0.33710932299202556</c:v>
                </c:pt>
                <c:pt idx="2">
                  <c:v>0.31575487439521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5909576396924</c:v>
                </c:pt>
                <c:pt idx="1">
                  <c:v>0.09960447734295867</c:v>
                </c:pt>
                <c:pt idx="2">
                  <c:v>0.10477986973698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150225808070562</c:v>
                </c:pt>
                <c:pt idx="1">
                  <c:v>0.06777214893778223</c:v>
                </c:pt>
                <c:pt idx="2">
                  <c:v>0.0562379487866613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77802172479337</c:v>
                </c:pt>
                <c:pt idx="1">
                  <c:v>0.0655565747458379</c:v>
                </c:pt>
                <c:pt idx="2">
                  <c:v>0.07641385201267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51789535144275</c:v>
                </c:pt>
                <c:pt idx="1">
                  <c:v>0.041119791800757206</c:v>
                </c:pt>
                <c:pt idx="2">
                  <c:v>0.048240444343021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277604320925255</c:v>
                </c:pt>
                <c:pt idx="1">
                  <c:v>0.04288371839846057</c:v>
                </c:pt>
                <c:pt idx="2">
                  <c:v>0.041218551698004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16953241577525</c:v>
                </c:pt>
                <c:pt idx="1">
                  <c:v>0.03278049412012208</c:v>
                </c:pt>
                <c:pt idx="2">
                  <c:v>0.0353355706805625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5238231225485</c:v>
                </c:pt>
                <c:pt idx="1">
                  <c:v>0.029872001306394343</c:v>
                </c:pt>
                <c:pt idx="2">
                  <c:v>0.0295551754531046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65567043684973</c:v>
                </c:pt>
                <c:pt idx="1">
                  <c:v>0.02974033205660748</c:v>
                </c:pt>
                <c:pt idx="2">
                  <c:v>0.0209044716936495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660619199729695</c:v>
                </c:pt>
                <c:pt idx="1">
                  <c:v>0.25356113829905397</c:v>
                </c:pt>
                <c:pt idx="2">
                  <c:v>0.27155924120012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94019976650667</c:v>
                </c:pt>
                <c:pt idx="1">
                  <c:v>0.15785281385281386</c:v>
                </c:pt>
                <c:pt idx="2">
                  <c:v>0.146054897194368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74497340770528</c:v>
                </c:pt>
                <c:pt idx="1">
                  <c:v>0.06361904761904762</c:v>
                </c:pt>
                <c:pt idx="2">
                  <c:v>0.0594550795097741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48449863795564</c:v>
                </c:pt>
                <c:pt idx="1">
                  <c:v>0.06718614718614718</c:v>
                </c:pt>
                <c:pt idx="2">
                  <c:v>0.057631925453256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90660267220133</c:v>
                </c:pt>
                <c:pt idx="1">
                  <c:v>0.09478787878787878</c:v>
                </c:pt>
                <c:pt idx="2">
                  <c:v>0.110199534082852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01816059151641</c:v>
                </c:pt>
                <c:pt idx="1">
                  <c:v>0.030303030303030304</c:v>
                </c:pt>
                <c:pt idx="2">
                  <c:v>0.033930922718525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6397716954209366</c:v>
                </c:pt>
                <c:pt idx="1">
                  <c:v>0.026632034632034632</c:v>
                </c:pt>
                <c:pt idx="2">
                  <c:v>0.0319051959890610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2385523414191204</c:v>
                </c:pt>
                <c:pt idx="1">
                  <c:v>0.03587878787878788</c:v>
                </c:pt>
                <c:pt idx="2">
                  <c:v>0.03940038488807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84005707614477</c:v>
                </c:pt>
                <c:pt idx="1">
                  <c:v>0.033800865800865804</c:v>
                </c:pt>
                <c:pt idx="2">
                  <c:v>0.03291805935379317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608250097288884</c:v>
                </c:pt>
                <c:pt idx="1">
                  <c:v>0.03487445887445888</c:v>
                </c:pt>
                <c:pt idx="2">
                  <c:v>0.02461257976298997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5667401738228053</c:v>
                </c:pt>
                <c:pt idx="1">
                  <c:v>0.45506493506493506</c:v>
                </c:pt>
                <c:pt idx="2">
                  <c:v>0.46389142104730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338</c:v>
                </c:pt>
                <c:pt idx="1">
                  <c:v>0.002693</c:v>
                </c:pt>
                <c:pt idx="2">
                  <c:v>0.0009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188</c:v>
                </c:pt>
                <c:pt idx="1">
                  <c:v>0.020686</c:v>
                </c:pt>
                <c:pt idx="2">
                  <c:v>0.0073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58793998211118</c:v>
                </c:pt>
                <c:pt idx="1">
                  <c:v>0.27501955241573867</c:v>
                </c:pt>
                <c:pt idx="2">
                  <c:v>0.238432315998360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435936439200409</c:v>
                </c:pt>
                <c:pt idx="1">
                  <c:v>0.10316027849572246</c:v>
                </c:pt>
                <c:pt idx="2">
                  <c:v>0.097168941575227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31812577411931</c:v>
                </c:pt>
                <c:pt idx="1">
                  <c:v>0.0871118480824324</c:v>
                </c:pt>
                <c:pt idx="2">
                  <c:v>0.096211374784778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4024723360472</c:v>
                </c:pt>
                <c:pt idx="1">
                  <c:v>0.0729707688532253</c:v>
                </c:pt>
                <c:pt idx="2">
                  <c:v>0.057242003063421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872208427308856</c:v>
                </c:pt>
                <c:pt idx="1">
                  <c:v>0.05030057464150512</c:v>
                </c:pt>
                <c:pt idx="2">
                  <c:v>0.053027653288228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835535275836776</c:v>
                </c:pt>
                <c:pt idx="1">
                  <c:v>0.0478227943330096</c:v>
                </c:pt>
                <c:pt idx="2">
                  <c:v>0.056700195802940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17916878200019</c:v>
                </c:pt>
                <c:pt idx="1">
                  <c:v>0.03985121846658364</c:v>
                </c:pt>
                <c:pt idx="2">
                  <c:v>0.0500364944476304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1765858030713</c:v>
                </c:pt>
                <c:pt idx="1">
                  <c:v>0.034448331388422265</c:v>
                </c:pt>
                <c:pt idx="2">
                  <c:v>0.04096402756155715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12370348629638</c:v>
                </c:pt>
                <c:pt idx="1">
                  <c:v>0.03553750625458359</c:v>
                </c:pt>
                <c:pt idx="2">
                  <c:v>0.0400307134103566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27156610046466</c:v>
                </c:pt>
                <c:pt idx="1">
                  <c:v>0.253777127068777</c:v>
                </c:pt>
                <c:pt idx="2">
                  <c:v>0.270186280067498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980046942138252</c:v>
                </c:pt>
                <c:pt idx="1">
                  <c:v>0.14007904037326555</c:v>
                </c:pt>
                <c:pt idx="2">
                  <c:v>0.115396638730517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15889330995057</c:v>
                </c:pt>
                <c:pt idx="1">
                  <c:v>0.068063510854994</c:v>
                </c:pt>
                <c:pt idx="2">
                  <c:v>0.058107685666225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142135072558983</c:v>
                </c:pt>
                <c:pt idx="1">
                  <c:v>0.1298536998671054</c:v>
                </c:pt>
                <c:pt idx="2">
                  <c:v>0.135477916548818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81297319635696</c:v>
                </c:pt>
                <c:pt idx="1">
                  <c:v>0.07398863722093584</c:v>
                </c:pt>
                <c:pt idx="2">
                  <c:v>0.05667862512467064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728848222185724</c:v>
                </c:pt>
                <c:pt idx="1">
                  <c:v>0.0384872067178514</c:v>
                </c:pt>
                <c:pt idx="2">
                  <c:v>0.03798174970600056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26433828009515</c:v>
                </c:pt>
                <c:pt idx="1">
                  <c:v>0.05361339856195268</c:v>
                </c:pt>
                <c:pt idx="2">
                  <c:v>0.060615984637599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451460451513434</c:v>
                </c:pt>
                <c:pt idx="1">
                  <c:v>0.028552029109141872</c:v>
                </c:pt>
                <c:pt idx="2">
                  <c:v>0.0365675752117540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02554796734184</c:v>
                </c:pt>
                <c:pt idx="1">
                  <c:v>0.03855104255529054</c:v>
                </c:pt>
                <c:pt idx="2">
                  <c:v>0.0430653348616341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7858781517725</c:v>
                </c:pt>
                <c:pt idx="1">
                  <c:v>0.029213600515329306</c:v>
                </c:pt>
                <c:pt idx="2">
                  <c:v>0.0321761912559358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05575306104067</c:v>
                </c:pt>
                <c:pt idx="1">
                  <c:v>0.3995978342241334</c:v>
                </c:pt>
                <c:pt idx="2">
                  <c:v>0.423932298256843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1081087046686</c:v>
                </c:pt>
                <c:pt idx="1">
                  <c:v>0.2760188602547955</c:v>
                </c:pt>
                <c:pt idx="2">
                  <c:v>0.23169060436188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16013618389802</c:v>
                </c:pt>
                <c:pt idx="1">
                  <c:v>0.10232022488474596</c:v>
                </c:pt>
                <c:pt idx="2">
                  <c:v>0.093687804123197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2737779988322</c:v>
                </c:pt>
                <c:pt idx="1">
                  <c:v>0.08457887584458929</c:v>
                </c:pt>
                <c:pt idx="2">
                  <c:v>0.09423704094686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4446966108955</c:v>
                </c:pt>
                <c:pt idx="1">
                  <c:v>0.07218958304957074</c:v>
                </c:pt>
                <c:pt idx="2">
                  <c:v>0.0589345314369718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81614129692551</c:v>
                </c:pt>
                <c:pt idx="1">
                  <c:v>0.05081114603554379</c:v>
                </c:pt>
                <c:pt idx="2">
                  <c:v>0.0604067235405531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43298698752442</c:v>
                </c:pt>
                <c:pt idx="1">
                  <c:v>0.04596684955568557</c:v>
                </c:pt>
                <c:pt idx="2">
                  <c:v>0.050803452285183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68454320325342</c:v>
                </c:pt>
                <c:pt idx="1">
                  <c:v>0.040066179311279475</c:v>
                </c:pt>
                <c:pt idx="2">
                  <c:v>0.0459934434986661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5732734019916</c:v>
                </c:pt>
                <c:pt idx="1">
                  <c:v>0.037666997366152546</c:v>
                </c:pt>
                <c:pt idx="2">
                  <c:v>0.04591416346313849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46893086726877</c:v>
                </c:pt>
                <c:pt idx="1">
                  <c:v>0.03584424668165464</c:v>
                </c:pt>
                <c:pt idx="2">
                  <c:v>0.0392190280564414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774134561166258</c:v>
                </c:pt>
                <c:pt idx="1">
                  <c:v>0.2545370370159825</c:v>
                </c:pt>
                <c:pt idx="2">
                  <c:v>0.279113208287095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01600424128961</c:v>
                </c:pt>
                <c:pt idx="1">
                  <c:v>0.13855635175459113</c:v>
                </c:pt>
                <c:pt idx="2">
                  <c:v>0.112551872100573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47431203300254</c:v>
                </c:pt>
                <c:pt idx="1">
                  <c:v>0.06833017925110038</c:v>
                </c:pt>
                <c:pt idx="2">
                  <c:v>0.0560265735713411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63198528802664</c:v>
                </c:pt>
                <c:pt idx="1">
                  <c:v>0.12398023914322369</c:v>
                </c:pt>
                <c:pt idx="2">
                  <c:v>0.130618889443027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65569343428486</c:v>
                </c:pt>
                <c:pt idx="1">
                  <c:v>0.07258641830927016</c:v>
                </c:pt>
                <c:pt idx="2">
                  <c:v>0.057917964449379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06726420252158</c:v>
                </c:pt>
                <c:pt idx="1">
                  <c:v>0.05651477457171816</c:v>
                </c:pt>
                <c:pt idx="2">
                  <c:v>0.0636580064175551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44203846982223</c:v>
                </c:pt>
                <c:pt idx="1">
                  <c:v>0.034248371572150514</c:v>
                </c:pt>
                <c:pt idx="2">
                  <c:v>0.0347507786696276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08800675955533</c:v>
                </c:pt>
                <c:pt idx="1">
                  <c:v>0.03289105303819629</c:v>
                </c:pt>
                <c:pt idx="2">
                  <c:v>0.0368774171693124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96999618946636</c:v>
                </c:pt>
                <c:pt idx="1">
                  <c:v>0.02725268805772325</c:v>
                </c:pt>
                <c:pt idx="2">
                  <c:v>0.033000536364577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24195231862688</c:v>
                </c:pt>
                <c:pt idx="1">
                  <c:v>0.0397981387370913</c:v>
                </c:pt>
                <c:pt idx="2">
                  <c:v>0.0405096404475350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41274706340396</c:v>
                </c:pt>
                <c:pt idx="1">
                  <c:v>0.4058417855649351</c:v>
                </c:pt>
                <c:pt idx="2">
                  <c:v>0.434088321367071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6248168366885</c:v>
                </c:pt>
                <c:pt idx="1">
                  <c:v>0.26938830995272656</c:v>
                </c:pt>
                <c:pt idx="2">
                  <c:v>0.235794418537341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536889752295283</c:v>
                </c:pt>
                <c:pt idx="1">
                  <c:v>0.1155550005789907</c:v>
                </c:pt>
                <c:pt idx="2">
                  <c:v>0.113036680054898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055752815559113</c:v>
                </c:pt>
                <c:pt idx="1">
                  <c:v>0.08170643604434233</c:v>
                </c:pt>
                <c:pt idx="2">
                  <c:v>0.066558162305451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00036125970377</c:v>
                </c:pt>
                <c:pt idx="1">
                  <c:v>0.09158661357260481</c:v>
                </c:pt>
                <c:pt idx="2">
                  <c:v>0.1034102370458651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98874686079242</c:v>
                </c:pt>
                <c:pt idx="1">
                  <c:v>0.05467970542659327</c:v>
                </c:pt>
                <c:pt idx="2">
                  <c:v>0.0598205532983520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758123183586986</c:v>
                </c:pt>
                <c:pt idx="1">
                  <c:v>0.055941637737723406</c:v>
                </c:pt>
                <c:pt idx="2">
                  <c:v>0.068086696918970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21412322146124</c:v>
                </c:pt>
                <c:pt idx="1">
                  <c:v>0.046697080631080565</c:v>
                </c:pt>
                <c:pt idx="2">
                  <c:v>0.057026514934773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31025503202275</c:v>
                </c:pt>
                <c:pt idx="1">
                  <c:v>0.04164708348964615</c:v>
                </c:pt>
                <c:pt idx="2">
                  <c:v>0.04600138571038652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268592118486006</c:v>
                </c:pt>
                <c:pt idx="1">
                  <c:v>0.03909877973944843</c:v>
                </c:pt>
                <c:pt idx="2">
                  <c:v>0.0453865657099125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755012049055446</c:v>
                </c:pt>
                <c:pt idx="1">
                  <c:v>0.20369935282684382</c:v>
                </c:pt>
                <c:pt idx="2">
                  <c:v>0.204878785484048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588951376067315</c:v>
                </c:pt>
                <c:pt idx="1">
                  <c:v>0.16492600211557207</c:v>
                </c:pt>
                <c:pt idx="2">
                  <c:v>0.141608460988967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88132342974778</c:v>
                </c:pt>
                <c:pt idx="1">
                  <c:v>0.08992124113562099</c:v>
                </c:pt>
                <c:pt idx="2">
                  <c:v>0.083533415350424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019602780839856</c:v>
                </c:pt>
                <c:pt idx="1">
                  <c:v>0.09875120910035391</c:v>
                </c:pt>
                <c:pt idx="2">
                  <c:v>0.08146975950472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350477203125982</c:v>
                </c:pt>
                <c:pt idx="1">
                  <c:v>0.1600104081621109</c:v>
                </c:pt>
                <c:pt idx="2">
                  <c:v>0.1786550519882530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025754870970865</c:v>
                </c:pt>
                <c:pt idx="1">
                  <c:v>0.05010247891498681</c:v>
                </c:pt>
                <c:pt idx="2">
                  <c:v>0.0521966029049924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794912211270452</c:v>
                </c:pt>
                <c:pt idx="1">
                  <c:v>0.07437876282400589</c:v>
                </c:pt>
                <c:pt idx="2">
                  <c:v>0.089114215413921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897301539041656</c:v>
                </c:pt>
                <c:pt idx="1">
                  <c:v>0.04042967608366503</c:v>
                </c:pt>
                <c:pt idx="2">
                  <c:v>0.051234224938487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1575288368609</c:v>
                </c:pt>
                <c:pt idx="1">
                  <c:v>0.04144409478215453</c:v>
                </c:pt>
                <c:pt idx="2">
                  <c:v>0.0461693388364155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780281039434864</c:v>
                </c:pt>
                <c:pt idx="1">
                  <c:v>0.05148080618003481</c:v>
                </c:pt>
                <c:pt idx="2">
                  <c:v>0.058134574172553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563762116916892</c:v>
                </c:pt>
                <c:pt idx="1">
                  <c:v>0.22855532070149503</c:v>
                </c:pt>
                <c:pt idx="2">
                  <c:v>0.217884355901261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46530676938368</c:v>
                </c:pt>
                <c:pt idx="1">
                  <c:v>0.3035675248106348</c:v>
                </c:pt>
                <c:pt idx="2">
                  <c:v>0.26444328984937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6938678333052</c:v>
                </c:pt>
                <c:pt idx="1">
                  <c:v>0.09766151887492454</c:v>
                </c:pt>
                <c:pt idx="2">
                  <c:v>0.097083215052447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215542806742207</c:v>
                </c:pt>
                <c:pt idx="1">
                  <c:v>0.0994396074172257</c:v>
                </c:pt>
                <c:pt idx="2">
                  <c:v>0.1186389841646851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80509078396075</c:v>
                </c:pt>
                <c:pt idx="1">
                  <c:v>0.08024594527392243</c:v>
                </c:pt>
                <c:pt idx="2">
                  <c:v>0.0664534572309337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624507408318525</c:v>
                </c:pt>
                <c:pt idx="1">
                  <c:v>0.05220538049092265</c:v>
                </c:pt>
                <c:pt idx="2">
                  <c:v>0.064098473937837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968810322056286</c:v>
                </c:pt>
                <c:pt idx="1">
                  <c:v>0.04651680184063757</c:v>
                </c:pt>
                <c:pt idx="2">
                  <c:v>0.0496886065773721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8676506488729</c:v>
                </c:pt>
                <c:pt idx="1">
                  <c:v>0.039087454709602135</c:v>
                </c:pt>
                <c:pt idx="2">
                  <c:v>0.046129979625303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569544490508915</c:v>
                </c:pt>
                <c:pt idx="1">
                  <c:v>0.03594445318448596</c:v>
                </c:pt>
                <c:pt idx="2">
                  <c:v>0.0406519468816817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56791024635</c:v>
                </c:pt>
                <c:pt idx="1">
                  <c:v>0.03602106550596218</c:v>
                </c:pt>
                <c:pt idx="2">
                  <c:v>0.0441439458850839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04117202832153</c:v>
                </c:pt>
                <c:pt idx="1">
                  <c:v>0.209310247891682</c:v>
                </c:pt>
                <c:pt idx="2">
                  <c:v>0.208668100795281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44474781499013</c:v>
                </c:pt>
                <c:pt idx="1">
                  <c:v>0.18112294616603536</c:v>
                </c:pt>
                <c:pt idx="2">
                  <c:v>0.154011546411346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701325102758529</c:v>
                </c:pt>
                <c:pt idx="1">
                  <c:v>0.07657337027904178</c:v>
                </c:pt>
                <c:pt idx="2">
                  <c:v>0.07034758024280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007567776112538</c:v>
                </c:pt>
                <c:pt idx="1">
                  <c:v>0.17494979281592393</c:v>
                </c:pt>
                <c:pt idx="2">
                  <c:v>0.203463923404053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29330326007924</c:v>
                </c:pt>
                <c:pt idx="1">
                  <c:v>0.09463524586691072</c:v>
                </c:pt>
                <c:pt idx="2">
                  <c:v>0.079732009218122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105548218604858</c:v>
                </c:pt>
                <c:pt idx="1">
                  <c:v>0.0689342518917728</c:v>
                </c:pt>
                <c:pt idx="2">
                  <c:v>0.0835570549523651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4431007107774034</c:v>
                </c:pt>
                <c:pt idx="1">
                  <c:v>0.042093533653642455</c:v>
                </c:pt>
                <c:pt idx="2">
                  <c:v>0.0417191323560856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74404594085264</c:v>
                </c:pt>
                <c:pt idx="1">
                  <c:v>0.037589716212895405</c:v>
                </c:pt>
                <c:pt idx="2">
                  <c:v>0.04403554203986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4010476176344</c:v>
                </c:pt>
                <c:pt idx="1">
                  <c:v>0.04808026370423096</c:v>
                </c:pt>
                <c:pt idx="2">
                  <c:v>0.0519469720367774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67556498642253</c:v>
                </c:pt>
                <c:pt idx="1">
                  <c:v>0.03112845412715764</c:v>
                </c:pt>
                <c:pt idx="2">
                  <c:v>0.0387374973272195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217388078526803</c:v>
                </c:pt>
                <c:pt idx="1">
                  <c:v>0.24489242528238891</c:v>
                </c:pt>
                <c:pt idx="2">
                  <c:v>0.232448742011356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60745419806933</c:v>
                </c:pt>
                <c:pt idx="1">
                  <c:v>0.2994931877264822</c:v>
                </c:pt>
                <c:pt idx="2">
                  <c:v>0.264772184172579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658603632960679</c:v>
                </c:pt>
                <c:pt idx="1">
                  <c:v>0.11727351077170033</c:v>
                </c:pt>
                <c:pt idx="2">
                  <c:v>0.111039319331885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7040713446188</c:v>
                </c:pt>
                <c:pt idx="1">
                  <c:v>0.10050272166513151</c:v>
                </c:pt>
                <c:pt idx="2">
                  <c:v>0.110181920368558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788659391832801</c:v>
                </c:pt>
                <c:pt idx="1">
                  <c:v>0.07883801331845669</c:v>
                </c:pt>
                <c:pt idx="2">
                  <c:v>0.066093563149074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324203583941894</c:v>
                </c:pt>
                <c:pt idx="1">
                  <c:v>0.04903158372840617</c:v>
                </c:pt>
                <c:pt idx="2">
                  <c:v>0.0606948213512853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193117316444134</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08163856441793</c:v>
                </c:pt>
                <c:pt idx="1">
                  <c:v>0.049044278719949895</c:v>
                </c:pt>
                <c:pt idx="2">
                  <c:v>0.0515916237454386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936203160597806</c:v>
                </c:pt>
                <c:pt idx="1">
                  <c:v>0.038764156678764525</c:v>
                </c:pt>
                <c:pt idx="2">
                  <c:v>0.0460431448081210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994153952418352</c:v>
                </c:pt>
                <c:pt idx="1">
                  <c:v>0.17922154311853877</c:v>
                </c:pt>
                <c:pt idx="2">
                  <c:v>0.186227875312037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39332875353026</c:v>
                </c:pt>
                <c:pt idx="1">
                  <c:v>0.18451623169955442</c:v>
                </c:pt>
                <c:pt idx="2">
                  <c:v>0.1624556990968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43569193191359</c:v>
                </c:pt>
                <c:pt idx="1">
                  <c:v>0.09380967536600891</c:v>
                </c:pt>
                <c:pt idx="2">
                  <c:v>0.081970961472504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08762689871003</c:v>
                </c:pt>
                <c:pt idx="1">
                  <c:v>0.1791056651814131</c:v>
                </c:pt>
                <c:pt idx="2">
                  <c:v>0.19389504973133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109609953438668</c:v>
                </c:pt>
                <c:pt idx="1">
                  <c:v>0.0975493316359007</c:v>
                </c:pt>
                <c:pt idx="2">
                  <c:v>0.082656910940894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34585146172048</c:v>
                </c:pt>
                <c:pt idx="1">
                  <c:v>0.064966581795035</c:v>
                </c:pt>
                <c:pt idx="2">
                  <c:v>0.0810563621813193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12686054499657</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04243950843447</c:v>
                </c:pt>
                <c:pt idx="1">
                  <c:v>0.0441995544239338</c:v>
                </c:pt>
                <c:pt idx="2">
                  <c:v>0.0429861666857208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966872757804745</c:v>
                </c:pt>
                <c:pt idx="1">
                  <c:v>0.036481540420114575</c:v>
                </c:pt>
                <c:pt idx="2">
                  <c:v>0.0418429175717388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9716052209755</c:v>
                </c:pt>
                <c:pt idx="1">
                  <c:v>0.20767027371101213</c:v>
                </c:pt>
                <c:pt idx="2">
                  <c:v>0.20567051560535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849407552970016</c:v>
                </c:pt>
                <c:pt idx="1">
                  <c:v>0.37280879078685447</c:v>
                </c:pt>
                <c:pt idx="2">
                  <c:v>0.352096071194283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9878203007958</c:v>
                </c:pt>
                <c:pt idx="1">
                  <c:v>0.11015247049712557</c:v>
                </c:pt>
                <c:pt idx="2">
                  <c:v>0.1168393062666190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73364204136428</c:v>
                </c:pt>
                <c:pt idx="1">
                  <c:v>0.07494913718277343</c:v>
                </c:pt>
                <c:pt idx="2">
                  <c:v>0.0627105467737755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411366422164715</c:v>
                </c:pt>
                <c:pt idx="1">
                  <c:v>0.07249893637531349</c:v>
                </c:pt>
                <c:pt idx="2">
                  <c:v>0.085208556574195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12496838336868</c:v>
                </c:pt>
                <c:pt idx="1">
                  <c:v>0.04547432780140032</c:v>
                </c:pt>
                <c:pt idx="2">
                  <c:v>0.0537925850182911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54746385975835</c:v>
                </c:pt>
                <c:pt idx="1">
                  <c:v>0.04742505208303675</c:v>
                </c:pt>
                <c:pt idx="2">
                  <c:v>0.0459625212151773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746405432223674</c:v>
                </c:pt>
                <c:pt idx="1">
                  <c:v>0.036251908626708004</c:v>
                </c:pt>
                <c:pt idx="2">
                  <c:v>0.03940244987148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959238866081675</c:v>
                </c:pt>
                <c:pt idx="1">
                  <c:v>0.033035409957154024</c:v>
                </c:pt>
                <c:pt idx="2">
                  <c:v>0.032956771230935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246784831799522</c:v>
                </c:pt>
                <c:pt idx="1">
                  <c:v>0.03288979709376248</c:v>
                </c:pt>
                <c:pt idx="2">
                  <c:v>0.023310431447254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193727260345933</c:v>
                </c:pt>
                <c:pt idx="1">
                  <c:v>0.1745141695958714</c:v>
                </c:pt>
                <c:pt idx="2">
                  <c:v>0.187720760407985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5429558075505</c:v>
                </c:pt>
                <c:pt idx="1">
                  <c:v>0.2329313164349959</c:v>
                </c:pt>
                <c:pt idx="2">
                  <c:v>0.21538461538461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11787764244715</c:v>
                </c:pt>
                <c:pt idx="1">
                  <c:v>0.09387775960752248</c:v>
                </c:pt>
                <c:pt idx="2">
                  <c:v>0.087677371172516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301087311587101</c:v>
                </c:pt>
                <c:pt idx="1">
                  <c:v>0.0991414554374489</c:v>
                </c:pt>
                <c:pt idx="2">
                  <c:v>0.084988797610156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498436697932708</c:v>
                </c:pt>
                <c:pt idx="1">
                  <c:v>0.13987121831561733</c:v>
                </c:pt>
                <c:pt idx="2">
                  <c:v>0.16250933532486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58551495636754</c:v>
                </c:pt>
                <c:pt idx="1">
                  <c:v>0.044715862632869995</c:v>
                </c:pt>
                <c:pt idx="2">
                  <c:v>0.0500373412994772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985906948527694</c:v>
                </c:pt>
                <c:pt idx="1">
                  <c:v>0.0392988552739166</c:v>
                </c:pt>
                <c:pt idx="2">
                  <c:v>0.0470500373412994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099211349106351</c:v>
                </c:pt>
                <c:pt idx="1">
                  <c:v>0.05294358135731807</c:v>
                </c:pt>
                <c:pt idx="2">
                  <c:v>0.0581030619865571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01227308787158</c:v>
                </c:pt>
                <c:pt idx="1">
                  <c:v>0.04987735077677841</c:v>
                </c:pt>
                <c:pt idx="2">
                  <c:v>0.048543689320388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60581455037566</c:v>
                </c:pt>
                <c:pt idx="1">
                  <c:v>0.05146156991005724</c:v>
                </c:pt>
                <c:pt idx="2">
                  <c:v>0.03629574309185959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816230342059822</c:v>
                </c:pt>
                <c:pt idx="1">
                  <c:v>0.19588103025347506</c:v>
                </c:pt>
                <c:pt idx="2">
                  <c:v>0.20941000746825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32703795805857</c:v>
                </c:pt>
                <c:pt idx="1">
                  <c:v>0.29051088956323334</c:v>
                </c:pt>
                <c:pt idx="2">
                  <c:v>0.259941325437754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9655188212206</c:v>
                </c:pt>
                <c:pt idx="1">
                  <c:v>0.11110217614529079</c:v>
                </c:pt>
                <c:pt idx="2">
                  <c:v>0.12097968081471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5278960635239</c:v>
                </c:pt>
                <c:pt idx="1">
                  <c:v>0.09545223985847014</c:v>
                </c:pt>
                <c:pt idx="2">
                  <c:v>0.096064683010948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66691525763102</c:v>
                </c:pt>
                <c:pt idx="1">
                  <c:v>0.07905382835793198</c:v>
                </c:pt>
                <c:pt idx="2">
                  <c:v>0.0683623723611359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35294147591764</c:v>
                </c:pt>
                <c:pt idx="1">
                  <c:v>0.05215909030658322</c:v>
                </c:pt>
                <c:pt idx="2">
                  <c:v>0.0673781364048002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48906496708506</c:v>
                </c:pt>
                <c:pt idx="1">
                  <c:v>0.04741108874424063</c:v>
                </c:pt>
                <c:pt idx="2">
                  <c:v>0.058723367334211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17149891867173</c:v>
                </c:pt>
                <c:pt idx="1">
                  <c:v>0.04910421567397233</c:v>
                </c:pt>
                <c:pt idx="2">
                  <c:v>0.04851496960527528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7578444024187136</c:v>
                </c:pt>
                <c:pt idx="1">
                  <c:v>0.047044362399857195</c:v>
                </c:pt>
                <c:pt idx="2">
                  <c:v>0.035473165335372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247191897801116</c:v>
                </c:pt>
                <c:pt idx="1">
                  <c:v>0.04326663921373872</c:v>
                </c:pt>
                <c:pt idx="2">
                  <c:v>0.04103965684599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648261602537835</c:v>
                </c:pt>
                <c:pt idx="1">
                  <c:v>0.18489546973668164</c:v>
                </c:pt>
                <c:pt idx="2">
                  <c:v>0.20352264284978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4436422705532</c:v>
                </c:pt>
                <c:pt idx="1">
                  <c:v>0.173166626592931</c:v>
                </c:pt>
                <c:pt idx="2">
                  <c:v>0.152643879637744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047197906326145</c:v>
                </c:pt>
                <c:pt idx="1">
                  <c:v>0.18946862226496755</c:v>
                </c:pt>
                <c:pt idx="2">
                  <c:v>0.20610575518550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93222633336342</c:v>
                </c:pt>
                <c:pt idx="1">
                  <c:v>0.07343111324837702</c:v>
                </c:pt>
                <c:pt idx="2">
                  <c:v>0.0704060765410458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8316938904431</c:v>
                </c:pt>
                <c:pt idx="1">
                  <c:v>0.09406107237316663</c:v>
                </c:pt>
                <c:pt idx="2">
                  <c:v>0.0839906514753140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490298709502752</c:v>
                </c:pt>
                <c:pt idx="1">
                  <c:v>0.06766049531137293</c:v>
                </c:pt>
                <c:pt idx="2">
                  <c:v>0.0864738533450189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92590921396986</c:v>
                </c:pt>
                <c:pt idx="1">
                  <c:v>0.04270257273383025</c:v>
                </c:pt>
                <c:pt idx="2">
                  <c:v>0.0506865322816243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4358812381554</c:v>
                </c:pt>
                <c:pt idx="1">
                  <c:v>0.0660735753786968</c:v>
                </c:pt>
                <c:pt idx="2">
                  <c:v>0.0651475314052001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429925097012905</c:v>
                </c:pt>
                <c:pt idx="1">
                  <c:v>0.06241885068526088</c:v>
                </c:pt>
                <c:pt idx="2">
                  <c:v>0.044259421560035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51854525764823</c:v>
                </c:pt>
                <c:pt idx="1">
                  <c:v>0.036931954796826164</c:v>
                </c:pt>
                <c:pt idx="2">
                  <c:v>0.03520303827052293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07598592184821</c:v>
                </c:pt>
                <c:pt idx="1">
                  <c:v>0.1940851166145708</c:v>
                </c:pt>
                <c:pt idx="2">
                  <c:v>0.20508326029798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2810520427836</c:v>
                </c:pt>
                <c:pt idx="1">
                  <c:v>0.291367377723545</c:v>
                </c:pt>
                <c:pt idx="2">
                  <c:v>0.256937761026182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14809956339979</c:v>
                </c:pt>
                <c:pt idx="1">
                  <c:v>0.11216228749289338</c:v>
                </c:pt>
                <c:pt idx="2">
                  <c:v>0.11987713447927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582003325846866</c:v>
                </c:pt>
                <c:pt idx="1">
                  <c:v>0.09384436933368102</c:v>
                </c:pt>
                <c:pt idx="2">
                  <c:v>0.1035177536447058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51311740883024</c:v>
                </c:pt>
                <c:pt idx="1">
                  <c:v>0.07751422467267968</c:v>
                </c:pt>
                <c:pt idx="2">
                  <c:v>0.064622360993261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20692465168048</c:v>
                </c:pt>
                <c:pt idx="1">
                  <c:v>0.0515504799644326</c:v>
                </c:pt>
                <c:pt idx="2">
                  <c:v>0.06043455257864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509141346598863</c:v>
                </c:pt>
                <c:pt idx="1">
                  <c:v>0.048361703658509704</c:v>
                </c:pt>
                <c:pt idx="2">
                  <c:v>0.05619088140852243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070648218343645</c:v>
                </c:pt>
                <c:pt idx="1">
                  <c:v>0.05026557019924315</c:v>
                </c:pt>
                <c:pt idx="2">
                  <c:v>0.0601647300459457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96370624651586</c:v>
                </c:pt>
                <c:pt idx="1">
                  <c:v>0.03945706479946133</c:v>
                </c:pt>
                <c:pt idx="2">
                  <c:v>0.0437351139993421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531627251500844</c:v>
                </c:pt>
                <c:pt idx="1">
                  <c:v>0.19838588799346543</c:v>
                </c:pt>
                <c:pt idx="2">
                  <c:v>0.192557291187867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53861620218162</c:v>
                </c:pt>
                <c:pt idx="1">
                  <c:v>0.1800889545206828</c:v>
                </c:pt>
                <c:pt idx="2">
                  <c:v>0.1565544662639997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78703171093391</c:v>
                </c:pt>
                <c:pt idx="1">
                  <c:v>0.0900444772603414</c:v>
                </c:pt>
                <c:pt idx="2">
                  <c:v>0.091313321394967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785733509944958</c:v>
                </c:pt>
                <c:pt idx="1">
                  <c:v>0.16715011514863842</c:v>
                </c:pt>
                <c:pt idx="2">
                  <c:v>0.183036391780738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93345928345638</c:v>
                </c:pt>
                <c:pt idx="1">
                  <c:v>0.09341982666174428</c:v>
                </c:pt>
                <c:pt idx="2">
                  <c:v>0.080508088748596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00957819022339</c:v>
                </c:pt>
                <c:pt idx="1">
                  <c:v>0.04490503899817755</c:v>
                </c:pt>
                <c:pt idx="2">
                  <c:v>0.054587671108143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54280105333706</c:v>
                </c:pt>
                <c:pt idx="1">
                  <c:v>0.04451242023100047</c:v>
                </c:pt>
                <c:pt idx="2">
                  <c:v>0.0486690745743163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73084493886318</c:v>
                </c:pt>
                <c:pt idx="1">
                  <c:v>0.06745424819366067</c:v>
                </c:pt>
                <c:pt idx="2">
                  <c:v>0.0795823595471514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12278026101228</c:v>
                </c:pt>
                <c:pt idx="1">
                  <c:v>0.03912709714091498</c:v>
                </c:pt>
                <c:pt idx="2">
                  <c:v>0.0435699760220960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2521676262447687</c:v>
                </c:pt>
                <c:pt idx="1">
                  <c:v>0.22392161688612297</c:v>
                </c:pt>
                <c:pt idx="2">
                  <c:v>0.207666858894588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219541330751257</c:v>
                </c:pt>
                <c:pt idx="1">
                  <c:v>0.2954829289115649</c:v>
                </c:pt>
                <c:pt idx="2">
                  <c:v>0.262419096289850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101378361466349</c:v>
                </c:pt>
                <c:pt idx="1">
                  <c:v>0.11083612408462486</c:v>
                </c:pt>
                <c:pt idx="2">
                  <c:v>0.1069443365042333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692945250173659</c:v>
                </c:pt>
                <c:pt idx="1">
                  <c:v>0.09359357830451978</c:v>
                </c:pt>
                <c:pt idx="2">
                  <c:v>0.105890436529582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63134978194601</c:v>
                </c:pt>
                <c:pt idx="1">
                  <c:v>0.07840030396488236</c:v>
                </c:pt>
                <c:pt idx="2">
                  <c:v>0.0630006660415415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56239893833827</c:v>
                </c:pt>
                <c:pt idx="1">
                  <c:v>0.05404328888783456</c:v>
                </c:pt>
                <c:pt idx="2">
                  <c:v>0.058362344030430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88574267524212</c:v>
                </c:pt>
                <c:pt idx="1">
                  <c:v>0.051381144410023394</c:v>
                </c:pt>
                <c:pt idx="2">
                  <c:v>0.062404351858778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3246545485163</c:v>
                </c:pt>
                <c:pt idx="1">
                  <c:v>0.042816427594938165</c:v>
                </c:pt>
                <c:pt idx="2">
                  <c:v>0.055070268472121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674659906578364</c:v>
                </c:pt>
                <c:pt idx="1">
                  <c:v>0.037011527963583056</c:v>
                </c:pt>
                <c:pt idx="2">
                  <c:v>0.04508509279912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42711217677012</c:v>
                </c:pt>
                <c:pt idx="1">
                  <c:v>0.038181745050780196</c:v>
                </c:pt>
                <c:pt idx="2">
                  <c:v>0.044057885329000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506547360484673</c:v>
                </c:pt>
                <c:pt idx="1">
                  <c:v>0.1982529308272487</c:v>
                </c:pt>
                <c:pt idx="2">
                  <c:v>0.19676552214533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9197377517705</c:v>
                </c:pt>
                <c:pt idx="1">
                  <c:v>0.1800960243530294</c:v>
                </c:pt>
                <c:pt idx="2">
                  <c:v>0.157263708843040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0572791415407</c:v>
                </c:pt>
                <c:pt idx="1">
                  <c:v>0.08750750773156456</c:v>
                </c:pt>
                <c:pt idx="2">
                  <c:v>0.079189742965532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912916916135476</c:v>
                </c:pt>
                <c:pt idx="1">
                  <c:v>0.1669495666966354</c:v>
                </c:pt>
                <c:pt idx="2">
                  <c:v>0.184630677783863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63406646841477</c:v>
                </c:pt>
                <c:pt idx="1">
                  <c:v>0.09512529051656923</c:v>
                </c:pt>
                <c:pt idx="2">
                  <c:v>0.077242204775525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10051635908954</c:v>
                </c:pt>
                <c:pt idx="1">
                  <c:v>0.04948201315391876</c:v>
                </c:pt>
                <c:pt idx="2">
                  <c:v>0.051761913456271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025593019063277</c:v>
                </c:pt>
                <c:pt idx="1">
                  <c:v>0.06892936949977058</c:v>
                </c:pt>
                <c:pt idx="2">
                  <c:v>0.0826080782261172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2400854754572</c:v>
                </c:pt>
                <c:pt idx="1">
                  <c:v>0.036708610482098954</c:v>
                </c:pt>
                <c:pt idx="2">
                  <c:v>0.0498346621224108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470998217056056</c:v>
                </c:pt>
                <c:pt idx="1">
                  <c:v>0.049564085250525074</c:v>
                </c:pt>
                <c:pt idx="2">
                  <c:v>0.058689874830097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18380861965737</c:v>
                </c:pt>
                <c:pt idx="1">
                  <c:v>0.037559175846928076</c:v>
                </c:pt>
                <c:pt idx="2">
                  <c:v>0.043850039559369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900380074691788</c:v>
                </c:pt>
                <c:pt idx="1">
                  <c:v>0.22807835646895996</c:v>
                </c:pt>
                <c:pt idx="2">
                  <c:v>0.214929097437770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948060469827</c:v>
                </c:pt>
                <c:pt idx="1">
                  <c:v>0.2982500912993351</c:v>
                </c:pt>
                <c:pt idx="2">
                  <c:v>0.2561854227520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13851590063657</c:v>
                </c:pt>
                <c:pt idx="1">
                  <c:v>0.11056134492213122</c:v>
                </c:pt>
                <c:pt idx="2">
                  <c:v>0.103592675983182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32361929677785</c:v>
                </c:pt>
                <c:pt idx="1">
                  <c:v>0.09139106443435731</c:v>
                </c:pt>
                <c:pt idx="2">
                  <c:v>0.104199979279964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5459208694371</c:v>
                </c:pt>
                <c:pt idx="1">
                  <c:v>0.07800390783267623</c:v>
                </c:pt>
                <c:pt idx="2">
                  <c:v>0.0651652141546905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321616309975465</c:v>
                </c:pt>
                <c:pt idx="1">
                  <c:v>0.05490359945018103</c:v>
                </c:pt>
                <c:pt idx="2">
                  <c:v>0.0667930495063521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049997666677676</c:v>
                </c:pt>
                <c:pt idx="1">
                  <c:v>0.04966913153713682</c:v>
                </c:pt>
                <c:pt idx="2">
                  <c:v>0.0561745001994654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35313818369247</c:v>
                </c:pt>
                <c:pt idx="1">
                  <c:v>0.04329320694453169</c:v>
                </c:pt>
                <c:pt idx="2">
                  <c:v>0.05085596715921284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34175479171896</c:v>
                </c:pt>
                <c:pt idx="1">
                  <c:v>0.04070078904411255</c:v>
                </c:pt>
                <c:pt idx="2">
                  <c:v>0.05076830547144877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05366866058984</c:v>
                </c:pt>
                <c:pt idx="1">
                  <c:v>0.038731229581525126</c:v>
                </c:pt>
                <c:pt idx="2">
                  <c:v>0.043365346256634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584791472519641</c:v>
                </c:pt>
                <c:pt idx="1">
                  <c:v>0.1944956349540129</c:v>
                </c:pt>
                <c:pt idx="2">
                  <c:v>0.202899539237043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8502414646049</c:v>
                </c:pt>
                <c:pt idx="1">
                  <c:v>0.1812286483755383</c:v>
                </c:pt>
                <c:pt idx="2">
                  <c:v>0.155138198939026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20188796715409</c:v>
                </c:pt>
                <c:pt idx="1">
                  <c:v>0.08937436553517543</c:v>
                </c:pt>
                <c:pt idx="2">
                  <c:v>0.077225385543262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537582661663497</c:v>
                </c:pt>
                <c:pt idx="1">
                  <c:v>0.16216341496201322</c:v>
                </c:pt>
                <c:pt idx="2">
                  <c:v>0.180041245671150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397987514513116</c:v>
                </c:pt>
                <c:pt idx="1">
                  <c:v>0.09494143223336253</c:v>
                </c:pt>
                <c:pt idx="2">
                  <c:v>0.079832423248031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25906543943192</c:v>
                </c:pt>
                <c:pt idx="1">
                  <c:v>0.07392007713238123</c:v>
                </c:pt>
                <c:pt idx="2">
                  <c:v>0.0877443287202168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6132023086372</c:v>
                </c:pt>
                <c:pt idx="1">
                  <c:v>0.044796113714638</c:v>
                </c:pt>
                <c:pt idx="2">
                  <c:v>0.047899453948819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73768698783422</c:v>
                </c:pt>
                <c:pt idx="1">
                  <c:v>0.043020771045690735</c:v>
                </c:pt>
                <c:pt idx="2">
                  <c:v>0.05083075007457943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9181880899896</c:v>
                </c:pt>
                <c:pt idx="1">
                  <c:v>0.03564591416241372</c:v>
                </c:pt>
                <c:pt idx="2">
                  <c:v>0.045486971296644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6167864174056434</c:v>
                </c:pt>
                <c:pt idx="1">
                  <c:v>0.0520550866116913</c:v>
                </c:pt>
                <c:pt idx="2">
                  <c:v>0.0558373000946834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2990038533375962</c:v>
                </c:pt>
                <c:pt idx="1">
                  <c:v>0.22285417622709552</c:v>
                </c:pt>
                <c:pt idx="2">
                  <c:v>0.21996394246358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341</c:v>
                </c:pt>
                <c:pt idx="1">
                  <c:v>0.202923</c:v>
                </c:pt>
                <c:pt idx="2">
                  <c:v>0.0915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2115</c:v>
                </c:pt>
                <c:pt idx="1">
                  <c:v>0.112149</c:v>
                </c:pt>
                <c:pt idx="2">
                  <c:v>0.04149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8216</c:v>
                </c:pt>
                <c:pt idx="1">
                  <c:v>0.598741</c:v>
                </c:pt>
                <c:pt idx="2">
                  <c:v>0.2104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57925</c:v>
                </c:pt>
                <c:pt idx="1">
                  <c:v>2.883112</c:v>
                </c:pt>
                <c:pt idx="2">
                  <c:v>1.334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047</c:v>
                </c:pt>
                <c:pt idx="1">
                  <c:v>0.021407</c:v>
                </c:pt>
                <c:pt idx="2">
                  <c:v>0.0082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7659</c:v>
                </c:pt>
                <c:pt idx="1">
                  <c:v>0.286005</c:v>
                </c:pt>
                <c:pt idx="2">
                  <c:v>0.1155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729865940749092</c:v>
                </c:pt>
                <c:pt idx="1">
                  <c:v>0.22942044157863753</c:v>
                </c:pt>
                <c:pt idx="2">
                  <c:v>0.2319143736720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3731761395809</c:v>
                </c:pt>
                <c:pt idx="1">
                  <c:v>0.11251913378839701</c:v>
                </c:pt>
                <c:pt idx="2">
                  <c:v>0.111546474821681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30743454964467</c:v>
                </c:pt>
                <c:pt idx="1">
                  <c:v>0.061861798675645174</c:v>
                </c:pt>
                <c:pt idx="2">
                  <c:v>0.059036867242646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24367750296788</c:v>
                </c:pt>
                <c:pt idx="1">
                  <c:v>0.05806871472372009</c:v>
                </c:pt>
                <c:pt idx="2">
                  <c:v>0.056715850896573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73294303673719</c:v>
                </c:pt>
                <c:pt idx="1">
                  <c:v>0.044152241353562036</c:v>
                </c:pt>
                <c:pt idx="2">
                  <c:v>0.045803841991275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993622603574796</c:v>
                </c:pt>
                <c:pt idx="1">
                  <c:v>0.04336289930166176</c:v>
                </c:pt>
                <c:pt idx="2">
                  <c:v>0.0437716812612220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10551309694564</c:v>
                </c:pt>
                <c:pt idx="1">
                  <c:v>0.03572977813459169</c:v>
                </c:pt>
                <c:pt idx="2">
                  <c:v>0.0346151627864441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46873605204862</c:v>
                </c:pt>
                <c:pt idx="1">
                  <c:v>0.028564227653171428</c:v>
                </c:pt>
                <c:pt idx="2">
                  <c:v>0.02983827269782309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51760332442184</c:v>
                </c:pt>
                <c:pt idx="1">
                  <c:v>0.028471042124756776</c:v>
                </c:pt>
                <c:pt idx="2">
                  <c:v>0.0273000399932841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655359607383863</c:v>
                </c:pt>
                <c:pt idx="1">
                  <c:v>0.3578497226658565</c:v>
                </c:pt>
                <c:pt idx="2">
                  <c:v>0.35945743463695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565937731855297</c:v>
                </c:pt>
                <c:pt idx="1">
                  <c:v>0.2058998372392478</c:v>
                </c:pt>
                <c:pt idx="2">
                  <c:v>0.206194438781255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7125569305107</c:v>
                </c:pt>
                <c:pt idx="1">
                  <c:v>0.27831336965668657</c:v>
                </c:pt>
                <c:pt idx="2">
                  <c:v>0.28599486516533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68373090748888</c:v>
                </c:pt>
                <c:pt idx="1">
                  <c:v>0.04896429315929201</c:v>
                </c:pt>
                <c:pt idx="2">
                  <c:v>0.0458118030072448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76613932990671</c:v>
                </c:pt>
                <c:pt idx="1">
                  <c:v>0.04614490041144321</c:v>
                </c:pt>
                <c:pt idx="2">
                  <c:v>0.043106383898600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17740392594837</c:v>
                </c:pt>
                <c:pt idx="1">
                  <c:v>0.02348730812638995</c:v>
                </c:pt>
                <c:pt idx="2">
                  <c:v>0.0247304412554286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072268505129446</c:v>
                </c:pt>
                <c:pt idx="1">
                  <c:v>0.027996631814926932</c:v>
                </c:pt>
                <c:pt idx="2">
                  <c:v>0.0278972584233153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88826772099893</c:v>
                </c:pt>
                <c:pt idx="1">
                  <c:v>0.07839588282451818</c:v>
                </c:pt>
                <c:pt idx="2">
                  <c:v>0.076596236349807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787920332895677</c:v>
                </c:pt>
                <c:pt idx="1">
                  <c:v>0.020163445461872487</c:v>
                </c:pt>
                <c:pt idx="2">
                  <c:v>0.02060117867388451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20052987792365</c:v>
                </c:pt>
                <c:pt idx="1">
                  <c:v>0.0167055291515715</c:v>
                </c:pt>
                <c:pt idx="2">
                  <c:v>0.01612356871332193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479194557412943</c:v>
                </c:pt>
                <c:pt idx="1">
                  <c:v>0.25392880215405134</c:v>
                </c:pt>
                <c:pt idx="2">
                  <c:v>0.2529438257318118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96123791951747</c:v>
                </c:pt>
                <c:pt idx="1">
                  <c:v>0.22609947424390428</c:v>
                </c:pt>
                <c:pt idx="2">
                  <c:v>0.22043380844401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40387620804826</c:v>
                </c:pt>
                <c:pt idx="1">
                  <c:v>0.7739005257560957</c:v>
                </c:pt>
                <c:pt idx="2">
                  <c:v>0.77956619155598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62583518930958</c:v>
                </c:pt>
                <c:pt idx="1">
                  <c:v>0.20271880819366853</c:v>
                </c:pt>
                <c:pt idx="2">
                  <c:v>0.2059472422062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83741648106904</c:v>
                </c:pt>
                <c:pt idx="1">
                  <c:v>0.7972811918063314</c:v>
                </c:pt>
                <c:pt idx="2">
                  <c:v>0.79405275779376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76215760368911</c:v>
                </c:pt>
                <c:pt idx="1">
                  <c:v>0.10622247058050095</c:v>
                </c:pt>
                <c:pt idx="2">
                  <c:v>0.0085563561502830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57109784363174</c:v>
                </c:pt>
                <c:pt idx="1">
                  <c:v>0.1328095895514211</c:v>
                </c:pt>
                <c:pt idx="2">
                  <c:v>0.134934931255054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8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98073261194771</c:v>
                </c:pt>
                <c:pt idx="1">
                  <c:v>0.760967939868078</c:v>
                </c:pt>
                <c:pt idx="2">
                  <c:v>0.85650871259466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00132674872854</c:v>
                </c:pt>
                <c:pt idx="1">
                  <c:v>0.11141873690511823</c:v>
                </c:pt>
                <c:pt idx="2">
                  <c:v>0.0102776294714361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975160315471365</c:v>
                </c:pt>
                <c:pt idx="1">
                  <c:v>0.11804100568692008</c:v>
                </c:pt>
                <c:pt idx="2">
                  <c:v>0.128537106246663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2470700965579</c:v>
                </c:pt>
                <c:pt idx="1">
                  <c:v>0.7705402574079616</c:v>
                </c:pt>
                <c:pt idx="2">
                  <c:v>0.86118526428190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784793710703073</c:v>
                </c:pt>
                <c:pt idx="1">
                  <c:v>0.19378448060769038</c:v>
                </c:pt>
                <c:pt idx="2">
                  <c:v>0.209357802498878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2%</a:t>
                    </a:r>
                  </a:p>
                </c:rich>
              </c:tx>
              <c:showLegendKey val="0"/>
              <c:showVal val="1"/>
              <c:showCatName val="0"/>
              <c:showSerName val="0"/>
              <c:showPercent val="0"/>
              <c:showBubbleSize val="0"/>
            </c:dLbl>
            <c:dLbl>
              <c:idx val="1"/>
              <c:tx>
                <c:rich>
                  <a:bodyPr/>
                  <a:lstStyle/>
                  <a:p>
                    <a:r>
                      <a:rPr sz="800">
                        <a:solidFill>
                          <a:srgbClr val="FFFFFF"/>
                        </a:solidFill>
                        <a:latin typeface="Nexa Book"/>
                      </a:rPr>
                      <a:t>81%</a:t>
                    </a:r>
                  </a:p>
                </c:rich>
              </c:tx>
              <c:showLegendKey val="0"/>
              <c:showVal val="1"/>
              <c:showCatName val="0"/>
              <c:showSerName val="0"/>
              <c:showPercent val="0"/>
              <c:showBubbleSize val="0"/>
            </c:dLbl>
            <c:dLbl>
              <c:idx val="2"/>
              <c:tx>
                <c:rich>
                  <a:bodyPr/>
                  <a:lstStyle/>
                  <a:p>
                    <a:r>
                      <a:rPr sz="800">
                        <a:solidFill>
                          <a:srgbClr val="FFFFFF"/>
                        </a:solidFill>
                        <a:latin typeface="Nexa Book"/>
                      </a:rPr>
                      <a:t>7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21520628929693</c:v>
                </c:pt>
                <c:pt idx="1">
                  <c:v>0.8062155193923096</c:v>
                </c:pt>
                <c:pt idx="2">
                  <c:v>0.7906421975011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62647754137116</c:v>
                </c:pt>
                <c:pt idx="1">
                  <c:v>0.17706876827253082</c:v>
                </c:pt>
                <c:pt idx="2">
                  <c:v>0.19230769230769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437352245862884</c:v>
                </c:pt>
                <c:pt idx="1">
                  <c:v>0.8229312317274691</c:v>
                </c:pt>
                <c:pt idx="2">
                  <c:v>0.80769230769230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48470446036743</c:v>
                </c:pt>
                <c:pt idx="1">
                  <c:v>0.03941027249486793</c:v>
                </c:pt>
                <c:pt idx="2">
                  <c:v>0.0310883086055532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7%</a:t>
                    </a:r>
                  </a:p>
                </c:rich>
              </c:tx>
              <c:showLegendKey val="0"/>
              <c:showVal val="1"/>
              <c:showCatName val="0"/>
              <c:showSerName val="0"/>
              <c:showPercent val="0"/>
              <c:showBubbleSize val="0"/>
            </c:dLbl>
            <c:dLbl>
              <c:idx val="1"/>
              <c:tx>
                <c:rich>
                  <a:bodyPr/>
                  <a:lstStyle/>
                  <a:p>
                    <a:r>
                      <a:rPr sz="800">
                        <a:solidFill>
                          <a:srgbClr val="FFFFFF"/>
                        </a:solidFill>
                        <a:latin typeface="Nexa Book"/>
                      </a:rPr>
                      <a:t>96%</a:t>
                    </a:r>
                  </a:p>
                </c:rich>
              </c:tx>
              <c:showLegendKey val="0"/>
              <c:showVal val="1"/>
              <c:showCatName val="0"/>
              <c:showSerName val="0"/>
              <c:showPercent val="0"/>
              <c:showBubbleSize val="0"/>
            </c:dLbl>
            <c:dLbl>
              <c:idx val="2"/>
              <c:tx>
                <c:rich>
                  <a:bodyPr/>
                  <a:lstStyle/>
                  <a:p>
                    <a:r>
                      <a:rPr sz="800">
                        <a:solidFill>
                          <a:srgbClr val="FFFFFF"/>
                        </a:solidFill>
                        <a:latin typeface="Nexa Book"/>
                      </a:rPr>
                      <a:t>9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685152955396326</c:v>
                </c:pt>
                <c:pt idx="1">
                  <c:v>0.9605897275051322</c:v>
                </c:pt>
                <c:pt idx="2">
                  <c:v>0.96891169139444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503788631268269</c:v>
                </c:pt>
                <c:pt idx="1">
                  <c:v>0.0539936144099444</c:v>
                </c:pt>
                <c:pt idx="2">
                  <c:v>0.03811339155104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549621136873174</c:v>
                </c:pt>
                <c:pt idx="1">
                  <c:v>0.9460063855900556</c:v>
                </c:pt>
                <c:pt idx="2">
                  <c:v>0.96188660844895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7%</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2212328637729</c:v>
                </c:pt>
                <c:pt idx="1">
                  <c:v>0.6680748844090484</c:v>
                </c:pt>
                <c:pt idx="2">
                  <c:v>0.61091927228760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947944282466735</c:v>
                </c:pt>
                <c:pt idx="1">
                  <c:v>0.049974914401701605</c:v>
                </c:pt>
                <c:pt idx="2">
                  <c:v>0.05130720795954648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83082285376037</c:v>
                </c:pt>
                <c:pt idx="1">
                  <c:v>0.28195020118925</c:v>
                </c:pt>
                <c:pt idx="2">
                  <c:v>0.33777351975285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84771737376997</c:v>
                </c:pt>
                <c:pt idx="1">
                  <c:v>0.542464693364287</c:v>
                </c:pt>
                <c:pt idx="2">
                  <c:v>0.46972049689440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70511372802064</c:v>
                </c:pt>
                <c:pt idx="1">
                  <c:v>0.10224414780421745</c:v>
                </c:pt>
                <c:pt idx="2">
                  <c:v>0.0970496894409937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177125342798</c:v>
                </c:pt>
                <c:pt idx="1">
                  <c:v>0.35529115883149553</c:v>
                </c:pt>
                <c:pt idx="2">
                  <c:v>0.433229813664596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8%</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997449437282997</c:v>
                </c:pt>
                <c:pt idx="1">
                  <c:v>0.7779796938160654</c:v>
                </c:pt>
                <c:pt idx="2">
                  <c:v>0.74562340408977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75584928571326</c:v>
                </c:pt>
                <c:pt idx="1">
                  <c:v>0.03048970822359583</c:v>
                </c:pt>
                <c:pt idx="2">
                  <c:v>0.0385753458247569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24794713431289</c:v>
                </c:pt>
                <c:pt idx="1">
                  <c:v>0.19153059796033886</c:v>
                </c:pt>
                <c:pt idx="2">
                  <c:v>0.21580125008546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90279542566709</c:v>
                </c:pt>
                <c:pt idx="1">
                  <c:v>0.6901700949367089</c:v>
                </c:pt>
                <c:pt idx="2">
                  <c:v>0.643188854489164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32020330368488</c:v>
                </c:pt>
                <c:pt idx="1">
                  <c:v>0.06606012658227849</c:v>
                </c:pt>
                <c:pt idx="2">
                  <c:v>0.078689370485036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66518424396442</c:v>
                </c:pt>
                <c:pt idx="1">
                  <c:v>0.24376977848101264</c:v>
                </c:pt>
                <c:pt idx="2">
                  <c:v>0.278121775025799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29907859143323</c:v>
                </c:pt>
                <c:pt idx="1">
                  <c:v>0.7237945509342211</c:v>
                </c:pt>
                <c:pt idx="2">
                  <c:v>0.76089550975496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407975588346</c:v>
                </c:pt>
                <c:pt idx="1">
                  <c:v>0.052705278802363954</c:v>
                </c:pt>
                <c:pt idx="2">
                  <c:v>0.0470523509247111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4269710559474</c:v>
                </c:pt>
                <c:pt idx="1">
                  <c:v>0.05529901119919547</c:v>
                </c:pt>
                <c:pt idx="2">
                  <c:v>0.0414998518769308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226243722418948</c:v>
                </c:pt>
                <c:pt idx="1">
                  <c:v>0.16820115906421956</c:v>
                </c:pt>
                <c:pt idx="2">
                  <c:v>0.15055228744339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83834444584224</c:v>
                </c:pt>
                <c:pt idx="1">
                  <c:v>0.5817749064943897</c:v>
                </c:pt>
                <c:pt idx="2">
                  <c:v>0.62556255625562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8398540696944</c:v>
                </c:pt>
                <c:pt idx="1">
                  <c:v>0.06307378442706563</c:v>
                </c:pt>
                <c:pt idx="2">
                  <c:v>0.0598559855985598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80727135488741</c:v>
                </c:pt>
                <c:pt idx="1">
                  <c:v>0.1125467528051683</c:v>
                </c:pt>
                <c:pt idx="2">
                  <c:v>0.082358235823582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61252987797207</c:v>
                </c:pt>
                <c:pt idx="1">
                  <c:v>0.2426045562733764</c:v>
                </c:pt>
                <c:pt idx="2">
                  <c:v>0.232223222322232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06019861919183</c:v>
                </c:pt>
                <c:pt idx="1">
                  <c:v>0.7464916878467518</c:v>
                </c:pt>
                <c:pt idx="2">
                  <c:v>0.72176843861844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70332782245544</c:v>
                </c:pt>
                <c:pt idx="1">
                  <c:v>0.06671182887150529</c:v>
                </c:pt>
                <c:pt idx="2">
                  <c:v>0.064584568429835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86946859856262</c:v>
                </c:pt>
                <c:pt idx="1">
                  <c:v>0.18679648328174292</c:v>
                </c:pt>
                <c:pt idx="2">
                  <c:v>0.213646992951715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57429616398741</c:v>
                </c:pt>
                <c:pt idx="1">
                  <c:v>0.6009384775808133</c:v>
                </c:pt>
                <c:pt idx="2">
                  <c:v>0.58350158638592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26239686994982</c:v>
                </c:pt>
                <c:pt idx="1">
                  <c:v>0.13628779979144942</c:v>
                </c:pt>
                <c:pt idx="2">
                  <c:v>0.126622440149985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99464149017604</c:v>
                </c:pt>
                <c:pt idx="1">
                  <c:v>0.26277372262773724</c:v>
                </c:pt>
                <c:pt idx="2">
                  <c:v>0.289875973464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6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312769600936423</c:v>
                </c:pt>
                <c:pt idx="1">
                  <c:v>0.6522409007925202</c:v>
                </c:pt>
                <c:pt idx="2">
                  <c:v>0.63628255440599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2825092666854</c:v>
                </c:pt>
                <c:pt idx="1">
                  <c:v>0.08431738795496037</c:v>
                </c:pt>
                <c:pt idx="2">
                  <c:v>0.0599357830895469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87947889796892</c:v>
                </c:pt>
                <c:pt idx="1">
                  <c:v>0.26344171125251953</c:v>
                </c:pt>
                <c:pt idx="2">
                  <c:v>0.303781662504459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863636363636</c:v>
                </c:pt>
                <c:pt idx="1">
                  <c:v>0.4619826756496631</c:v>
                </c:pt>
                <c:pt idx="2">
                  <c:v>0.4458204334365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1022727272727</c:v>
                </c:pt>
                <c:pt idx="1">
                  <c:v>0.1530317613089509</c:v>
                </c:pt>
                <c:pt idx="2">
                  <c:v>0.10216718266253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19034090909091</c:v>
                </c:pt>
                <c:pt idx="1">
                  <c:v>0.3849855630413859</c:v>
                </c:pt>
                <c:pt idx="2">
                  <c:v>0.452012383900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26743748503404</c:v>
                </c:pt>
                <c:pt idx="1">
                  <c:v>0.519307681699076</c:v>
                </c:pt>
                <c:pt idx="2">
                  <c:v>0.48572597137014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567372489994</c:v>
                </c:pt>
                <c:pt idx="1">
                  <c:v>0.09964142876844573</c:v>
                </c:pt>
                <c:pt idx="2">
                  <c:v>0.094314928425357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4688879006602</c:v>
                </c:pt>
                <c:pt idx="1">
                  <c:v>0.3810508895324783</c:v>
                </c:pt>
                <c:pt idx="2">
                  <c:v>0.4199591002044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88</c:v>
                </c:pt>
                <c:pt idx="1">
                  <c:v>0.001615</c:v>
                </c:pt>
                <c:pt idx="2">
                  <c:v>0.000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9</c:v>
                </c:pt>
                <c:pt idx="1">
                  <c:v>0.005618</c:v>
                </c:pt>
                <c:pt idx="2">
                  <c:v>0.00212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1021897810219</c:v>
                </c:pt>
                <c:pt idx="1">
                  <c:v>0.388412017167382</c:v>
                </c:pt>
                <c:pt idx="2">
                  <c:v>0.31372549019607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6788321167883</c:v>
                </c:pt>
                <c:pt idx="1">
                  <c:v>0.17167381974248927</c:v>
                </c:pt>
                <c:pt idx="2">
                  <c:v>0.14379084967320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2992700729926</c:v>
                </c:pt>
                <c:pt idx="1">
                  <c:v>0.43991416309012876</c:v>
                </c:pt>
                <c:pt idx="2">
                  <c:v>0.54248366013071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06</c:v>
                </c:pt>
                <c:pt idx="1">
                  <c:v>0.019471</c:v>
                </c:pt>
                <c:pt idx="2">
                  <c:v>0.0053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4007</c:v>
                </c:pt>
                <c:pt idx="1">
                  <c:v>0.079408</c:v>
                </c:pt>
                <c:pt idx="2">
                  <c:v>0.031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12123222988106</c:v>
                </c:pt>
                <c:pt idx="1">
                  <c:v>0.6182243392405465</c:v>
                </c:pt>
                <c:pt idx="2">
                  <c:v>0.5916427283454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618086120901467</c:v>
                </c:pt>
                <c:pt idx="1">
                  <c:v>0.094182831488729</c:v>
                </c:pt>
                <c:pt idx="2">
                  <c:v>0.084515507810693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6068164921748</c:v>
                </c:pt>
                <c:pt idx="1">
                  <c:v>0.28759282927072444</c:v>
                </c:pt>
                <c:pt idx="2">
                  <c:v>0.32384176384385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65304117126854</c:v>
                </c:pt>
                <c:pt idx="1">
                  <c:v>0.43867549668874173</c:v>
                </c:pt>
                <c:pt idx="2">
                  <c:v>0.41416153567547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26294585830796</c:v>
                </c:pt>
                <c:pt idx="1">
                  <c:v>0.1652317880794702</c:v>
                </c:pt>
                <c:pt idx="2">
                  <c:v>0.144693951466859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12066424290066</c:v>
                </c:pt>
                <c:pt idx="1">
                  <c:v>0.39609271523178813</c:v>
                </c:pt>
                <c:pt idx="2">
                  <c:v>0.441144512857660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531150788000493</c:v>
                </c:pt>
                <c:pt idx="1">
                  <c:v>0.15513273206431638</c:v>
                </c:pt>
                <c:pt idx="2">
                  <c:v>0.146659480397071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491727471013785</c:v>
                </c:pt>
                <c:pt idx="1">
                  <c:v>0.13075978387313225</c:v>
                </c:pt>
                <c:pt idx="2">
                  <c:v>0.137431206458087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94885850446315</c:v>
                </c:pt>
                <c:pt idx="1">
                  <c:v>0.11185405646572606</c:v>
                </c:pt>
                <c:pt idx="2">
                  <c:v>0.108255719258944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36151601290946</c:v>
                </c:pt>
                <c:pt idx="1">
                  <c:v>0.07596463068797782</c:v>
                </c:pt>
                <c:pt idx="2">
                  <c:v>0.083286072642321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4175272099566</c:v>
                </c:pt>
                <c:pt idx="1">
                  <c:v>0.0575983391308753</c:v>
                </c:pt>
                <c:pt idx="2">
                  <c:v>0.0508825864951933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607772625200696</c:v>
                </c:pt>
                <c:pt idx="1">
                  <c:v>0.0490818959492183</c:v>
                </c:pt>
                <c:pt idx="2">
                  <c:v>0.050501635303364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031708944875746</c:v>
                </c:pt>
                <c:pt idx="1">
                  <c:v>0.0474953306665599</c:v>
                </c:pt>
                <c:pt idx="2">
                  <c:v>0.047059639339528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81557295659804</c:v>
                </c:pt>
                <c:pt idx="1">
                  <c:v>0.040947423399796186</c:v>
                </c:pt>
                <c:pt idx="2">
                  <c:v>0.0436368532939926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7430385476629</c:v>
                </c:pt>
                <c:pt idx="1">
                  <c:v>0.00991633017696487</c:v>
                </c:pt>
                <c:pt idx="2">
                  <c:v>0.0089057285289982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48452226081906</c:v>
                </c:pt>
                <c:pt idx="1">
                  <c:v>0.32124947758543293</c:v>
                </c:pt>
                <c:pt idx="2">
                  <c:v>0.323381078282498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37483203185565</c:v>
                </c:pt>
                <c:pt idx="1">
                  <c:v>0.2704387802498592</c:v>
                </c:pt>
                <c:pt idx="2">
                  <c:v>0.2557684720039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12331037235954</c:v>
                </c:pt>
                <c:pt idx="1">
                  <c:v>0.12343802977679286</c:v>
                </c:pt>
                <c:pt idx="2">
                  <c:v>0.13075267327989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384775746002</c:v>
                </c:pt>
                <c:pt idx="1">
                  <c:v>0.05130851113180164</c:v>
                </c:pt>
                <c:pt idx="2">
                  <c:v>0.049551927251981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56921864043279</c:v>
                </c:pt>
                <c:pt idx="1">
                  <c:v>0.051392992556744656</c:v>
                </c:pt>
                <c:pt idx="2">
                  <c:v>0.054967000043789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72682200981325</c:v>
                </c:pt>
                <c:pt idx="1">
                  <c:v>0.047787715420225314</c:v>
                </c:pt>
                <c:pt idx="2">
                  <c:v>0.0412866910869397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77912839165312</c:v>
                </c:pt>
                <c:pt idx="1">
                  <c:v>0.04716498818202924</c:v>
                </c:pt>
                <c:pt idx="2">
                  <c:v>0.044816440041960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42303046372676</c:v>
                </c:pt>
                <c:pt idx="1">
                  <c:v>0.030998163660455144</c:v>
                </c:pt>
                <c:pt idx="2">
                  <c:v>0.0306396240033791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05835813831026</c:v>
                </c:pt>
                <c:pt idx="1">
                  <c:v>0.03457822567779507</c:v>
                </c:pt>
                <c:pt idx="2">
                  <c:v>0.0367638148173418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183520582513835</c:v>
                </c:pt>
                <c:pt idx="1">
                  <c:v>0.008813653965484274</c:v>
                </c:pt>
                <c:pt idx="2">
                  <c:v>0.00778773847021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522952594781207</c:v>
                </c:pt>
                <c:pt idx="1">
                  <c:v>0.3340789393788126</c:v>
                </c:pt>
                <c:pt idx="2">
                  <c:v>0.347665619000515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73</c:v>
                </c:pt>
                <c:pt idx="1">
                  <c:v>0.001084</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229</c:v>
                </c:pt>
                <c:pt idx="1">
                  <c:v>0.006767</c:v>
                </c:pt>
                <c:pt idx="2">
                  <c:v>0.0024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23756105346275</c:v>
                </c:pt>
                <c:pt idx="1">
                  <c:v>0.25442817000534557</c:v>
                </c:pt>
                <c:pt idx="2">
                  <c:v>0.20711087304973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49950188800093</c:v>
                </c:pt>
                <c:pt idx="1">
                  <c:v>0.1382715561556372</c:v>
                </c:pt>
                <c:pt idx="2">
                  <c:v>0.132767130583724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80601671048199</c:v>
                </c:pt>
                <c:pt idx="1">
                  <c:v>0.08111483718395376</c:v>
                </c:pt>
                <c:pt idx="2">
                  <c:v>0.0648485233638072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457345653017925</c:v>
                </c:pt>
                <c:pt idx="1">
                  <c:v>0.07547869639804398</c:v>
                </c:pt>
                <c:pt idx="2">
                  <c:v>0.090334203871321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36334661340653</c:v>
                </c:pt>
                <c:pt idx="1">
                  <c:v>0.038814425418940895</c:v>
                </c:pt>
                <c:pt idx="2">
                  <c:v>0.0428106978325318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1218989053776</c:v>
                </c:pt>
                <c:pt idx="1">
                  <c:v>0.03740459807992103</c:v>
                </c:pt>
                <c:pt idx="2">
                  <c:v>0.030336180991202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4067104138184</c:v>
                </c:pt>
                <c:pt idx="1">
                  <c:v>0.16237114170665898</c:v>
                </c:pt>
                <c:pt idx="2">
                  <c:v>0.1808207266722550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804985337243403</c:v>
                </c:pt>
                <c:pt idx="1">
                  <c:v>0.18398924665979424</c:v>
                </c:pt>
                <c:pt idx="2">
                  <c:v>0.147321428571428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83137829912023</c:v>
                </c:pt>
                <c:pt idx="1">
                  <c:v>0.1127483677965759</c:v>
                </c:pt>
                <c:pt idx="2">
                  <c:v>0.103386324041811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9457478005864</c:v>
                </c:pt>
                <c:pt idx="1">
                  <c:v>0.095395468235199</c:v>
                </c:pt>
                <c:pt idx="2">
                  <c:v>0.079104965156794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34714076246334</c:v>
                </c:pt>
                <c:pt idx="1">
                  <c:v>0.06615729792007762</c:v>
                </c:pt>
                <c:pt idx="2">
                  <c:v>0.076872822299651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74523460410557</c:v>
                </c:pt>
                <c:pt idx="1">
                  <c:v>0.040638327976876276</c:v>
                </c:pt>
                <c:pt idx="2">
                  <c:v>0.045078397212543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94941348973607</c:v>
                </c:pt>
                <c:pt idx="1">
                  <c:v>0.048005983061467875</c:v>
                </c:pt>
                <c:pt idx="2">
                  <c:v>0.0371842334494773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50806451612903</c:v>
                </c:pt>
                <c:pt idx="1">
                  <c:v>0.17244759767954237</c:v>
                </c:pt>
                <c:pt idx="2">
                  <c:v>0.179360844947735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5138046420205</c:v>
                </c:pt>
                <c:pt idx="1">
                  <c:v>0.2955485723264152</c:v>
                </c:pt>
                <c:pt idx="2">
                  <c:v>0.23224505084709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533928557500058</c:v>
                </c:pt>
                <c:pt idx="1">
                  <c:v>0.1533245725549572</c:v>
                </c:pt>
                <c:pt idx="2">
                  <c:v>0.15218937806891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33167540696329</c:v>
                </c:pt>
                <c:pt idx="1">
                  <c:v>0.07674299018697596</c:v>
                </c:pt>
                <c:pt idx="2">
                  <c:v>0.086884876971618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190719598977685</c:v>
                </c:pt>
                <c:pt idx="1">
                  <c:v>0.07537088088674314</c:v>
                </c:pt>
                <c:pt idx="2">
                  <c:v>0.1035006185025140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124297677949753</c:v>
                </c:pt>
                <c:pt idx="1">
                  <c:v>0.07613535402591096</c:v>
                </c:pt>
                <c:pt idx="2">
                  <c:v>0.0595265246200249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828143321798048</c:v>
                </c:pt>
                <c:pt idx="1">
                  <c:v>0.08118099101544088</c:v>
                </c:pt>
                <c:pt idx="2">
                  <c:v>0.0986394455075874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53347615940013</c:v>
                </c:pt>
                <c:pt idx="1">
                  <c:v>0.04516533588538617</c:v>
                </c:pt>
                <c:pt idx="2">
                  <c:v>0.046102225853858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27522444405734</c:v>
                </c:pt>
                <c:pt idx="1">
                  <c:v>0.03555257181219557</c:v>
                </c:pt>
                <c:pt idx="2">
                  <c:v>0.0434107204081663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681563737432302</c:v>
                </c:pt>
                <c:pt idx="1">
                  <c:v>0.02761902041166136</c:v>
                </c:pt>
                <c:pt idx="2">
                  <c:v>0.02456791671134887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1893364047871</c:v>
                </c:pt>
                <c:pt idx="1">
                  <c:v>0.1333597108943136</c:v>
                </c:pt>
                <c:pt idx="2">
                  <c:v>0.15293324250886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66017012724158</c:v>
                </c:pt>
                <c:pt idx="1">
                  <c:v>0.22237347853939782</c:v>
                </c:pt>
                <c:pt idx="2">
                  <c:v>0.169133725820016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966852079883374</c:v>
                </c:pt>
                <c:pt idx="1">
                  <c:v>0.13119795003203075</c:v>
                </c:pt>
                <c:pt idx="2">
                  <c:v>0.122624053826745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30048264051066</c:v>
                </c:pt>
                <c:pt idx="1">
                  <c:v>0.07022741832158873</c:v>
                </c:pt>
                <c:pt idx="2">
                  <c:v>0.078763666947014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60347048249897</c:v>
                </c:pt>
                <c:pt idx="1">
                  <c:v>0.06904228058936579</c:v>
                </c:pt>
                <c:pt idx="2">
                  <c:v>0.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037705405290645</c:v>
                </c:pt>
                <c:pt idx="1">
                  <c:v>0.09349775784753363</c:v>
                </c:pt>
                <c:pt idx="2">
                  <c:v>0.074306139613120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399289485230634</c:v>
                </c:pt>
                <c:pt idx="1">
                  <c:v>0.1545003203074952</c:v>
                </c:pt>
                <c:pt idx="2">
                  <c:v>0.18427249789739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89547506829151</c:v>
                </c:pt>
                <c:pt idx="1">
                  <c:v>0.041527866752082</c:v>
                </c:pt>
                <c:pt idx="2">
                  <c:v>0.04209419680403700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22359984714025</c:v>
                </c:pt>
                <c:pt idx="1">
                  <c:v>0.038693145419602816</c:v>
                </c:pt>
                <c:pt idx="2">
                  <c:v>0.0472666105971404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74295500544917</c:v>
                </c:pt>
                <c:pt idx="1">
                  <c:v>0.03707559256886611</c:v>
                </c:pt>
                <c:pt idx="2">
                  <c:v>0.0311185870479394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53537712482133</c:v>
                </c:pt>
                <c:pt idx="1">
                  <c:v>0.14186418962203715</c:v>
                </c:pt>
                <c:pt idx="2">
                  <c:v>0.150420521446593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339</c:v>
                </c:pt>
                <c:pt idx="1">
                  <c:v>0.012519</c:v>
                </c:pt>
                <c:pt idx="2">
                  <c:v>0.0068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52</c:v>
                </c:pt>
                <c:pt idx="1">
                  <c:v>0.094158</c:v>
                </c:pt>
                <c:pt idx="2">
                  <c:v>0.0362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4612423868534</c:v>
                </c:pt>
                <c:pt idx="1">
                  <c:v>0.2114515504592332</c:v>
                </c:pt>
                <c:pt idx="2">
                  <c:v>0.17852576807338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674145041807788</c:v>
                </c:pt>
                <c:pt idx="1">
                  <c:v>0.12231108793814895</c:v>
                </c:pt>
                <c:pt idx="2">
                  <c:v>0.105165897151024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84913639841846</c:v>
                </c:pt>
                <c:pt idx="1">
                  <c:v>0.14300916910015193</c:v>
                </c:pt>
                <c:pt idx="2">
                  <c:v>0.1348839027004695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0962521280761864</c:v>
                </c:pt>
                <c:pt idx="1">
                  <c:v>0.09181551295794432</c:v>
                </c:pt>
                <c:pt idx="2">
                  <c:v>0.100961941077619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742030467332904</c:v>
                </c:pt>
                <c:pt idx="1">
                  <c:v>0.07012328577904278</c:v>
                </c:pt>
                <c:pt idx="2">
                  <c:v>0.070244588732504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136560635629116</c:v>
                </c:pt>
                <c:pt idx="1">
                  <c:v>0.06572063913277783</c:v>
                </c:pt>
                <c:pt idx="2">
                  <c:v>0.0810866640240736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085324589992</c:v>
                </c:pt>
                <c:pt idx="1">
                  <c:v>0.05008667163415426</c:v>
                </c:pt>
                <c:pt idx="2">
                  <c:v>0.0761736741906128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904942380135444</c:v>
                </c:pt>
                <c:pt idx="1">
                  <c:v>0.05562548515687468</c:v>
                </c:pt>
                <c:pt idx="2">
                  <c:v>0.0501850745602036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55776651542784</c:v>
                </c:pt>
                <c:pt idx="1">
                  <c:v>0.03726199346704046</c:v>
                </c:pt>
                <c:pt idx="2">
                  <c:v>0.0559634205575126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34361527987378</c:v>
                </c:pt>
                <c:pt idx="1">
                  <c:v>0.15259460437463157</c:v>
                </c:pt>
                <c:pt idx="2">
                  <c:v>0.146809068932597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08824715657014</c:v>
                </c:pt>
                <c:pt idx="1">
                  <c:v>0.14580632292809415</c:v>
                </c:pt>
                <c:pt idx="2">
                  <c:v>0.1232444826597879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8314914898766</c:v>
                </c:pt>
                <c:pt idx="1">
                  <c:v>0.14470928493068713</c:v>
                </c:pt>
                <c:pt idx="2">
                  <c:v>0.126397248495270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01121239009437</c:v>
                </c:pt>
                <c:pt idx="1">
                  <c:v>0.1082078388351451</c:v>
                </c:pt>
                <c:pt idx="2">
                  <c:v>0.098882201203783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55803823505687</c:v>
                </c:pt>
                <c:pt idx="1">
                  <c:v>0.15797347162660816</c:v>
                </c:pt>
                <c:pt idx="2">
                  <c:v>0.170822585267985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010002419940308</c:v>
                </c:pt>
                <c:pt idx="1">
                  <c:v>0.061134935673681064</c:v>
                </c:pt>
                <c:pt idx="2">
                  <c:v>0.0587560905703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864322013390336</c:v>
                </c:pt>
                <c:pt idx="1">
                  <c:v>0.06402712675775406</c:v>
                </c:pt>
                <c:pt idx="2">
                  <c:v>0.0791057609630266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638944906025652</c:v>
                </c:pt>
                <c:pt idx="1">
                  <c:v>0.06592201057145707</c:v>
                </c:pt>
                <c:pt idx="2">
                  <c:v>0.0991688162797363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15681213196741</c:v>
                </c:pt>
                <c:pt idx="1">
                  <c:v>0.06901366310960406</c:v>
                </c:pt>
                <c:pt idx="2">
                  <c:v>0.060762396102034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12115834476083</c:v>
                </c:pt>
                <c:pt idx="1">
                  <c:v>0.03281140919517303</c:v>
                </c:pt>
                <c:pt idx="2">
                  <c:v>0.0501576382917741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810034685811083</c:v>
                </c:pt>
                <c:pt idx="1">
                  <c:v>0.15039393637179616</c:v>
                </c:pt>
                <c:pt idx="2">
                  <c:v>0.13270278016623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32058753093317</c:v>
                </c:pt>
                <c:pt idx="1">
                  <c:v>0.2541541434439916</c:v>
                </c:pt>
                <c:pt idx="2">
                  <c:v>0.2054182391241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49325457012852</c:v>
                </c:pt>
                <c:pt idx="1">
                  <c:v>0.12219747298388274</c:v>
                </c:pt>
                <c:pt idx="2">
                  <c:v>0.1395098079873926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484952502594396</c:v>
                </c:pt>
                <c:pt idx="1">
                  <c:v>0.10426778459732773</c:v>
                </c:pt>
                <c:pt idx="2">
                  <c:v>0.120712893459959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994891035363614</c:v>
                </c:pt>
                <c:pt idx="1">
                  <c:v>0.08131583810755867</c:v>
                </c:pt>
                <c:pt idx="2">
                  <c:v>0.0650271637705801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71278039434821</c:v>
                </c:pt>
                <c:pt idx="1">
                  <c:v>0.08031398029355406</c:v>
                </c:pt>
                <c:pt idx="2">
                  <c:v>0.098784887819848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90971501556638</c:v>
                </c:pt>
                <c:pt idx="1">
                  <c:v>0.059482470730513215</c:v>
                </c:pt>
                <c:pt idx="2">
                  <c:v>0.0561833865549703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54083180330486</c:v>
                </c:pt>
                <c:pt idx="1">
                  <c:v>0.04276538694731655</c:v>
                </c:pt>
                <c:pt idx="2">
                  <c:v>0.076048189773151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76618504031292</c:v>
                </c:pt>
                <c:pt idx="1">
                  <c:v>0.05498545847153459</c:v>
                </c:pt>
                <c:pt idx="2">
                  <c:v>0.0593870526272135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783268140815838</c:v>
                </c:pt>
                <c:pt idx="1">
                  <c:v>0.04553103327529691</c:v>
                </c:pt>
                <c:pt idx="2">
                  <c:v>0.043783436320656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6255288576674</c:v>
                </c:pt>
                <c:pt idx="1">
                  <c:v>0.1549864311490239</c:v>
                </c:pt>
                <c:pt idx="2">
                  <c:v>0.135144942562103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305447470817121</c:v>
                </c:pt>
                <c:pt idx="1">
                  <c:v>0.1819432502149613</c:v>
                </c:pt>
                <c:pt idx="2">
                  <c:v>0.14567360350492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8171206225681</c:v>
                </c:pt>
                <c:pt idx="1">
                  <c:v>0.09750644883920895</c:v>
                </c:pt>
                <c:pt idx="2">
                  <c:v>0.107886089813800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7665369649806</c:v>
                </c:pt>
                <c:pt idx="1">
                  <c:v>0.09853826311263972</c:v>
                </c:pt>
                <c:pt idx="2">
                  <c:v>0.11445783132530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721141374837873</c:v>
                </c:pt>
                <c:pt idx="1">
                  <c:v>0.09836629406706793</c:v>
                </c:pt>
                <c:pt idx="2">
                  <c:v>0.0750273822562979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311608300907912</c:v>
                </c:pt>
                <c:pt idx="1">
                  <c:v>0.13946689595872744</c:v>
                </c:pt>
                <c:pt idx="2">
                  <c:v>0.172508214676889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28145265888457</c:v>
                </c:pt>
                <c:pt idx="1">
                  <c:v>0.07824591573516768</c:v>
                </c:pt>
                <c:pt idx="2">
                  <c:v>0.07338444687842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01686121919585</c:v>
                </c:pt>
                <c:pt idx="1">
                  <c:v>0.03938091143594153</c:v>
                </c:pt>
                <c:pt idx="2">
                  <c:v>0.0690032858707557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42023346303502</c:v>
                </c:pt>
                <c:pt idx="1">
                  <c:v>0.0644883920894239</c:v>
                </c:pt>
                <c:pt idx="2">
                  <c:v>0.07283680175246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636835278858625</c:v>
                </c:pt>
                <c:pt idx="1">
                  <c:v>0.0469475494411006</c:v>
                </c:pt>
                <c:pt idx="2">
                  <c:v>0.044359255202628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169260700389105</c:v>
                </c:pt>
                <c:pt idx="1">
                  <c:v>0.15511607910576097</c:v>
                </c:pt>
                <c:pt idx="2">
                  <c:v>0.12486308871851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04182074119827</c:v>
                </c:pt>
                <c:pt idx="1">
                  <c:v>0.6397052383442898</c:v>
                </c:pt>
                <c:pt idx="2">
                  <c:v>0.70316815740294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74434940773172</c:v>
                </c:pt>
                <c:pt idx="1">
                  <c:v>0.048331377264389616</c:v>
                </c:pt>
                <c:pt idx="2">
                  <c:v>0.0112047636957722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213829851070007</c:v>
                </c:pt>
                <c:pt idx="1">
                  <c:v>0.31196338439132054</c:v>
                </c:pt>
                <c:pt idx="2">
                  <c:v>0.28562707890128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26009651748713</c:v>
                </c:pt>
                <c:pt idx="1">
                  <c:v>0.6499630432331533</c:v>
                </c:pt>
                <c:pt idx="2">
                  <c:v>0.71009109401255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448220392248774</c:v>
                </c:pt>
                <c:pt idx="1">
                  <c:v>0.04466131315535623</c:v>
                </c:pt>
                <c:pt idx="2">
                  <c:v>0.009787447304029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9508144328799</c:v>
                </c:pt>
                <c:pt idx="1">
                  <c:v>0.30537564361149044</c:v>
                </c:pt>
                <c:pt idx="2">
                  <c:v>0.28012145868341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43334582198321</c:v>
                </c:pt>
                <c:pt idx="1">
                  <c:v>0.6485269016837656</c:v>
                </c:pt>
                <c:pt idx="2">
                  <c:v>0.7127821267356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77379299076873</c:v>
                </c:pt>
                <c:pt idx="1">
                  <c:v>0.21324740967603728</c:v>
                </c:pt>
                <c:pt idx="2">
                  <c:v>0.189539169190331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99130958987462</c:v>
                </c:pt>
                <c:pt idx="1">
                  <c:v>0.043610681024465345</c:v>
                </c:pt>
                <c:pt idx="2">
                  <c:v>0.0074452888406376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0143919952448</c:v>
                </c:pt>
                <c:pt idx="1">
                  <c:v>0.09461500761573174</c:v>
                </c:pt>
                <c:pt idx="2">
                  <c:v>0.090233415233415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56046395229909</c:v>
                </c:pt>
                <c:pt idx="1">
                  <c:v>0.6588866228567112</c:v>
                </c:pt>
                <c:pt idx="2">
                  <c:v>0.71882177308222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5710182142624</c:v>
                </c:pt>
                <c:pt idx="1">
                  <c:v>0.21265453080544855</c:v>
                </c:pt>
                <c:pt idx="2">
                  <c:v>0.187873220027560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2618980262442064</c:v>
                </c:pt>
                <c:pt idx="1">
                  <c:v>0.03958002870307425</c:v>
                </c:pt>
                <c:pt idx="2">
                  <c:v>0.0064882866329811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606619807194307</c:v>
                </c:pt>
                <c:pt idx="1">
                  <c:v>0.08887881763476596</c:v>
                </c:pt>
                <c:pt idx="2">
                  <c:v>0.086816720257234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7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7923523346088</c:v>
                </c:pt>
                <c:pt idx="1">
                  <c:v>0.7564572544982826</c:v>
                </c:pt>
                <c:pt idx="2">
                  <c:v>0.74193037557074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83556752426646</c:v>
                </c:pt>
                <c:pt idx="1">
                  <c:v>0.06781298908647837</c:v>
                </c:pt>
                <c:pt idx="2">
                  <c:v>0.038375254031513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337208014112473</c:v>
                </c:pt>
                <c:pt idx="1">
                  <c:v>0.17572975641523902</c:v>
                </c:pt>
                <c:pt idx="2">
                  <c:v>0.219694370397740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52941176470588</c:v>
                </c:pt>
                <c:pt idx="1">
                  <c:v>0.768650461022632</c:v>
                </c:pt>
                <c:pt idx="2">
                  <c:v>0.75583864118895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30718954248366</c:v>
                </c:pt>
                <c:pt idx="1">
                  <c:v>0.06244761106454317</c:v>
                </c:pt>
                <c:pt idx="2">
                  <c:v>0.031847133757961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339869281045752</c:v>
                </c:pt>
                <c:pt idx="1">
                  <c:v>0.1689019279128248</c:v>
                </c:pt>
                <c:pt idx="2">
                  <c:v>0.212314225053078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9847068819031</c:v>
                </c:pt>
                <c:pt idx="1">
                  <c:v>0.6482638654326826</c:v>
                </c:pt>
                <c:pt idx="2">
                  <c:v>0.74932603201347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23534409515718</c:v>
                </c:pt>
                <c:pt idx="1">
                  <c:v>0.05612038100385057</c:v>
                </c:pt>
                <c:pt idx="2">
                  <c:v>0.0098146588037068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677994902293967</c:v>
                </c:pt>
                <c:pt idx="1">
                  <c:v>0.2956157535634668</c:v>
                </c:pt>
                <c:pt idx="2">
                  <c:v>0.24085930918281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85365853658537</c:v>
                </c:pt>
                <c:pt idx="1">
                  <c:v>0.6578231292517007</c:v>
                </c:pt>
                <c:pt idx="2">
                  <c:v>0.76046901172529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3769401330377</c:v>
                </c:pt>
                <c:pt idx="1">
                  <c:v>0.05510204081632653</c:v>
                </c:pt>
                <c:pt idx="2">
                  <c:v>0.0067001675041876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10864745011086</c:v>
                </c:pt>
                <c:pt idx="1">
                  <c:v>0.28707482993197275</c:v>
                </c:pt>
                <c:pt idx="2">
                  <c:v>0.232830820770519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8409982511698</c:v>
                </c:pt>
                <c:pt idx="1">
                  <c:v>0.6118240393416731</c:v>
                </c:pt>
                <c:pt idx="2">
                  <c:v>0.5988640866464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3478911628933</c:v>
                </c:pt>
                <c:pt idx="1">
                  <c:v>0.0662095949171707</c:v>
                </c:pt>
                <c:pt idx="2">
                  <c:v>0.0212213269933518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81111058593687</c:v>
                </c:pt>
                <c:pt idx="1">
                  <c:v>0.3219663657411562</c:v>
                </c:pt>
                <c:pt idx="2">
                  <c:v>0.379914586360234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75956284153005</c:v>
                </c:pt>
                <c:pt idx="1">
                  <c:v>0.6224928366762178</c:v>
                </c:pt>
                <c:pt idx="2">
                  <c:v>0.605217391304347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25258044930176</c:v>
                </c:pt>
                <c:pt idx="1">
                  <c:v>0.06303724928366762</c:v>
                </c:pt>
                <c:pt idx="2">
                  <c:v>0.0156521739130434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01517911353977</c:v>
                </c:pt>
                <c:pt idx="1">
                  <c:v>0.3144699140401146</c:v>
                </c:pt>
                <c:pt idx="2">
                  <c:v>0.37913043478260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46237248989542</c:v>
                </c:pt>
                <c:pt idx="1">
                  <c:v>0.5891923147685757</c:v>
                </c:pt>
                <c:pt idx="2">
                  <c:v>0.6166698922650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28299223712068</c:v>
                </c:pt>
                <c:pt idx="1">
                  <c:v>0.2531868478460851</c:v>
                </c:pt>
                <c:pt idx="2">
                  <c:v>0.2773369460034836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789247449797907</c:v>
                </c:pt>
                <c:pt idx="1">
                  <c:v>0.06047783005230373</c:v>
                </c:pt>
                <c:pt idx="2">
                  <c:v>0.00309657441455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75710528004107</c:v>
                </c:pt>
                <c:pt idx="1">
                  <c:v>0.09714300733303545</c:v>
                </c:pt>
                <c:pt idx="2">
                  <c:v>0.1028965873169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8078817733991</c:v>
                </c:pt>
                <c:pt idx="1">
                  <c:v>0.5963446475195823</c:v>
                </c:pt>
                <c:pt idx="2">
                  <c:v>0.62162162162162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65024630541872</c:v>
                </c:pt>
                <c:pt idx="1">
                  <c:v>0.2485639686684073</c:v>
                </c:pt>
                <c:pt idx="2">
                  <c:v>0.272844272844272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27586206896552</c:v>
                </c:pt>
                <c:pt idx="1">
                  <c:v>0.06109660574412533</c:v>
                </c:pt>
                <c:pt idx="2">
                  <c:v>0.00386100386100386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41379310344828</c:v>
                </c:pt>
                <c:pt idx="1">
                  <c:v>0.09399477806788512</c:v>
                </c:pt>
                <c:pt idx="2">
                  <c:v>0.101673101673101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06797826593049</c:v>
                </c:pt>
                <c:pt idx="1">
                  <c:v>0.6010331587291062</c:v>
                </c:pt>
                <c:pt idx="2">
                  <c:v>0.687824747677049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812075849618514</c:v>
                </c:pt>
                <c:pt idx="1">
                  <c:v>0.038753699540081614</c:v>
                </c:pt>
                <c:pt idx="2">
                  <c:v>0.0044822936706289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65081414910766</c:v>
                </c:pt>
                <c:pt idx="1">
                  <c:v>0.3602131417308121</c:v>
                </c:pt>
                <c:pt idx="2">
                  <c:v>0.30769295865232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2994652406417</c:v>
                </c:pt>
                <c:pt idx="1">
                  <c:v>0.611972000965484</c:v>
                </c:pt>
                <c:pt idx="2">
                  <c:v>0.6944757609921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2441218911807146</c:v>
                </c:pt>
                <c:pt idx="1">
                  <c:v>0.03572290610668598</c:v>
                </c:pt>
                <c:pt idx="2">
                  <c:v>0.003945885005636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525931584755115</c:v>
                </c:pt>
                <c:pt idx="1">
                  <c:v>0.3523050929278301</c:v>
                </c:pt>
                <c:pt idx="2">
                  <c:v>0.301578354002254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15332231969</c:v>
                </c:pt>
                <c:pt idx="1">
                  <c:v>0.626898699364491</c:v>
                </c:pt>
                <c:pt idx="2">
                  <c:v>0.6994859020037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54947219830762</c:v>
                </c:pt>
                <c:pt idx="1">
                  <c:v>0.23229925617526848</c:v>
                </c:pt>
                <c:pt idx="2">
                  <c:v>0.204835300072450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5464550806245</c:v>
                </c:pt>
                <c:pt idx="1">
                  <c:v>0.05368189011026207</c:v>
                </c:pt>
                <c:pt idx="2">
                  <c:v>0.0090661876358439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68055006166088</c:v>
                </c:pt>
                <c:pt idx="1">
                  <c:v>0.08712015434997843</c:v>
                </c:pt>
                <c:pt idx="2">
                  <c:v>0.08661261028791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1754122938531</c:v>
                </c:pt>
                <c:pt idx="1">
                  <c:v>0.6378259397223163</c:v>
                </c:pt>
                <c:pt idx="2">
                  <c:v>0.705600956747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86356821589207</c:v>
                </c:pt>
                <c:pt idx="1">
                  <c:v>0.23061293599729088</c:v>
                </c:pt>
                <c:pt idx="2">
                  <c:v>0.203109427944987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997001499250375</c:v>
                </c:pt>
                <c:pt idx="1">
                  <c:v>0.04918726718591263</c:v>
                </c:pt>
                <c:pt idx="2">
                  <c:v>0.00777356986246761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9640179910045</c:v>
                </c:pt>
                <c:pt idx="1">
                  <c:v>0.0823738570944802</c:v>
                </c:pt>
                <c:pt idx="2">
                  <c:v>0.083516045445485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805451747243677</c:v>
                </c:pt>
                <c:pt idx="1">
                  <c:v>0.9059757232441726</c:v>
                </c:pt>
                <c:pt idx="2">
                  <c:v>0.7099293159093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5482527563231</c:v>
                </c:pt>
                <c:pt idx="1">
                  <c:v>0.09402427675582742</c:v>
                </c:pt>
                <c:pt idx="2">
                  <c:v>0.290070684090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51076704039864</c:v>
                </c:pt>
                <c:pt idx="1">
                  <c:v>0.9312872975277068</c:v>
                </c:pt>
                <c:pt idx="2">
                  <c:v>0.7688116857481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489232959601353</c:v>
                </c:pt>
                <c:pt idx="1">
                  <c:v>0.06871270247229326</c:v>
                </c:pt>
                <c:pt idx="2">
                  <c:v>0.23118831425187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66525225250049</c:v>
                </c:pt>
                <c:pt idx="1">
                  <c:v>0.8874220077025277</c:v>
                </c:pt>
                <c:pt idx="2">
                  <c:v>0.60057479867077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747747499518</c:v>
                </c:pt>
                <c:pt idx="1">
                  <c:v>0.11257799229747228</c:v>
                </c:pt>
                <c:pt idx="2">
                  <c:v>0.3994252013292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96411092985318</c:v>
                </c:pt>
                <c:pt idx="1">
                  <c:v>0.9167862266857962</c:v>
                </c:pt>
                <c:pt idx="2">
                  <c:v>0.6731571627260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35889070146819</c:v>
                </c:pt>
                <c:pt idx="1">
                  <c:v>0.08321377331420374</c:v>
                </c:pt>
                <c:pt idx="2">
                  <c:v>0.326842837273991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6%</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562791079378757</c:v>
                </c:pt>
                <c:pt idx="1">
                  <c:v>0.8949315408386529</c:v>
                </c:pt>
                <c:pt idx="2">
                  <c:v>0.69856085337256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72089206212429</c:v>
                </c:pt>
                <c:pt idx="1">
                  <c:v>0.10506845916134708</c:v>
                </c:pt>
                <c:pt idx="2">
                  <c:v>0.3014391466274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1038961038961</c:v>
                </c:pt>
                <c:pt idx="1">
                  <c:v>0.9222011385199241</c:v>
                </c:pt>
                <c:pt idx="2">
                  <c:v>0.76344086021505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96103896103896</c:v>
                </c:pt>
                <c:pt idx="1">
                  <c:v>0.07779886148007589</c:v>
                </c:pt>
                <c:pt idx="2">
                  <c:v>0.23655913978494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6%</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41168356341842</c:v>
                </c:pt>
                <c:pt idx="1">
                  <c:v>0.8844555468439613</c:v>
                </c:pt>
                <c:pt idx="2">
                  <c:v>0.659230678554280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8316436581585</c:v>
                </c:pt>
                <c:pt idx="1">
                  <c:v>0.11554445315603873</c:v>
                </c:pt>
                <c:pt idx="2">
                  <c:v>0.340769321445719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9505988953019</c:v>
                </c:pt>
                <c:pt idx="1">
                  <c:v>0.9151795714179048</c:v>
                </c:pt>
                <c:pt idx="2">
                  <c:v>0.7215390717969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4940110469807</c:v>
                </c:pt>
                <c:pt idx="1">
                  <c:v>0.08482042858209513</c:v>
                </c:pt>
                <c:pt idx="2">
                  <c:v>0.2784609282030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87160805306896</c:v>
                </c:pt>
                <c:pt idx="1">
                  <c:v>0.8897400110357363</c:v>
                </c:pt>
                <c:pt idx="2">
                  <c:v>0.6770376504301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128391946931041</c:v>
                </c:pt>
                <c:pt idx="1">
                  <c:v>0.1102599889642637</c:v>
                </c:pt>
                <c:pt idx="2">
                  <c:v>0.322962349569888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2952670429874</c:v>
                </c:pt>
                <c:pt idx="1">
                  <c:v>0.9197530864197531</c:v>
                </c:pt>
                <c:pt idx="2">
                  <c:v>0.74230673004753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04732957012592</c:v>
                </c:pt>
                <c:pt idx="1">
                  <c:v>0.08024691358024691</c:v>
                </c:pt>
                <c:pt idx="2">
                  <c:v>0.257693269952464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1%</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0802938940607</c:v>
                </c:pt>
                <c:pt idx="1">
                  <c:v>0.5038643705677182</c:v>
                </c:pt>
                <c:pt idx="2">
                  <c:v>0.4780280026990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8919706105939303</c:v>
                </c:pt>
                <c:pt idx="1">
                  <c:v>0.49613562943228173</c:v>
                </c:pt>
                <c:pt idx="2">
                  <c:v>0.52197199730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78480655182152</c:v>
                </c:pt>
                <c:pt idx="1">
                  <c:v>0.32364273204903676</c:v>
                </c:pt>
                <c:pt idx="2">
                  <c:v>0.28305084745762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821519344817849</c:v>
                </c:pt>
                <c:pt idx="1">
                  <c:v>0.6763572679509633</c:v>
                </c:pt>
                <c:pt idx="2">
                  <c:v>0.71694915254237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31740724328243</c:v>
                </c:pt>
                <c:pt idx="1">
                  <c:v>0.5885595340842332</c:v>
                </c:pt>
                <c:pt idx="2">
                  <c:v>0.6281906482945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22785797893094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146678483664345</c:v>
                </c:pt>
                <c:pt idx="1">
                  <c:v>0.11593498647364718</c:v>
                </c:pt>
                <c:pt idx="2">
                  <c:v>0.149023553812349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9078947368421</c:v>
                </c:pt>
                <c:pt idx="1">
                  <c:v>0.456198347107438</c:v>
                </c:pt>
                <c:pt idx="2">
                  <c:v>0.511415525114155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388157894736843</c:v>
                </c:pt>
                <c:pt idx="1">
                  <c:v>0.3107438016528926</c:v>
                </c:pt>
                <c:pt idx="2">
                  <c:v>0.32876712328767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81589939447063</c:v>
                </c:pt>
                <c:pt idx="1">
                  <c:v>0.6524387430206267</c:v>
                </c:pt>
                <c:pt idx="2">
                  <c:v>0.5465719660115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184100605529365</c:v>
                </c:pt>
                <c:pt idx="1">
                  <c:v>0.34756125697937335</c:v>
                </c:pt>
                <c:pt idx="2">
                  <c:v>0.453428033988454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610364683301344</c:v>
                </c:pt>
                <c:pt idx="1">
                  <c:v>0.4759036144578313</c:v>
                </c:pt>
                <c:pt idx="2">
                  <c:v>0.38787878787878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38963531669868</c:v>
                </c:pt>
                <c:pt idx="1">
                  <c:v>0.5240963855421686</c:v>
                </c:pt>
                <c:pt idx="2">
                  <c:v>0.61212121212121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44796853961402</c:v>
                </c:pt>
                <c:pt idx="1">
                  <c:v>0.5719218394412618</c:v>
                </c:pt>
                <c:pt idx="2">
                  <c:v>0.4463524396020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55203146038599</c:v>
                </c:pt>
                <c:pt idx="1">
                  <c:v>0.42807816055873815</c:v>
                </c:pt>
                <c:pt idx="2">
                  <c:v>0.55364756039791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7392739273927</c:v>
                </c:pt>
                <c:pt idx="1">
                  <c:v>0.40822784810126583</c:v>
                </c:pt>
                <c:pt idx="2">
                  <c:v>0.281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72607260726073</c:v>
                </c:pt>
                <c:pt idx="1">
                  <c:v>0.5917721518987341</c:v>
                </c:pt>
                <c:pt idx="2">
                  <c:v>0.718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88796211210858</c:v>
                </c:pt>
                <c:pt idx="1">
                  <c:v>0.5855979013873751</c:v>
                </c:pt>
                <c:pt idx="2">
                  <c:v>0.59756722151088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511203788789143</c:v>
                </c:pt>
                <c:pt idx="1">
                  <c:v>0.41440209861262495</c:v>
                </c:pt>
                <c:pt idx="2">
                  <c:v>0.40243277848911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20472440944884</c:v>
                </c:pt>
                <c:pt idx="1">
                  <c:v>0.43333333333333335</c:v>
                </c:pt>
                <c:pt idx="2">
                  <c:v>0.461538461538461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77952755905513</c:v>
                </c:pt>
                <c:pt idx="1">
                  <c:v>0.5666666666666667</c:v>
                </c:pt>
                <c:pt idx="2">
                  <c:v>0.53846153846153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75624741204741</c:v>
                </c:pt>
                <c:pt idx="1">
                  <c:v>0.5590587162334912</c:v>
                </c:pt>
                <c:pt idx="2">
                  <c:v>0.55711279304166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03440412627781</c:v>
                </c:pt>
                <c:pt idx="1">
                  <c:v>0.27705136668740005</c:v>
                </c:pt>
                <c:pt idx="2">
                  <c:v>0.266243280573391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209348461674786</c:v>
                </c:pt>
                <c:pt idx="1">
                  <c:v>0.16388991707910874</c:v>
                </c:pt>
                <c:pt idx="2">
                  <c:v>0.176643926384948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170345906483573</c:v>
                </c:pt>
                <c:pt idx="1">
                  <c:v>0.4235269965099569</c:v>
                </c:pt>
                <c:pt idx="2">
                  <c:v>0.40587138863000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84025725708326</c:v>
                </c:pt>
                <c:pt idx="1">
                  <c:v>0.23650174502155616</c:v>
                </c:pt>
                <c:pt idx="2">
                  <c:v>0.23252562907735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9396836433164</c:v>
                </c:pt>
                <c:pt idx="1">
                  <c:v>0.33997125846848697</c:v>
                </c:pt>
                <c:pt idx="2">
                  <c:v>0.3616029822926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79540188715148</c:v>
                </c:pt>
                <c:pt idx="1">
                  <c:v>0.5722152429418199</c:v>
                </c:pt>
                <c:pt idx="2">
                  <c:v>0.493778028570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120459811284852</c:v>
                </c:pt>
                <c:pt idx="1">
                  <c:v>0.42778475705818014</c:v>
                </c:pt>
                <c:pt idx="2">
                  <c:v>0.506221971429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07288746495794</c:v>
                </c:pt>
                <c:pt idx="1">
                  <c:v>0.36863543788187375</c:v>
                </c:pt>
                <c:pt idx="2">
                  <c:v>0.31578947368421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59271125350422</c:v>
                </c:pt>
                <c:pt idx="1">
                  <c:v>0.6313645621181263</c:v>
                </c:pt>
                <c:pt idx="2">
                  <c:v>0.68421052631578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71892460066814</c:v>
                </c:pt>
                <c:pt idx="1">
                  <c:v>0.33069416518103634</c:v>
                </c:pt>
                <c:pt idx="2">
                  <c:v>0.29527533874326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18637586503522</c:v>
                </c:pt>
                <c:pt idx="1">
                  <c:v>0.15148264592383087</c:v>
                </c:pt>
                <c:pt idx="2">
                  <c:v>0.1728517487750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62565450584543</c:v>
                </c:pt>
                <c:pt idx="1">
                  <c:v>0.420516446584217</c:v>
                </c:pt>
                <c:pt idx="2">
                  <c:v>0.42086123058653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15276425403008</c:v>
                </c:pt>
                <c:pt idx="1">
                  <c:v>0.18411558135432868</c:v>
                </c:pt>
                <c:pt idx="2">
                  <c:v>0.1566719125320964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9984853402575</c:v>
                </c:pt>
                <c:pt idx="1">
                  <c:v>0.1282651572246364</c:v>
                </c:pt>
                <c:pt idx="2">
                  <c:v>0.14047875424500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191225792491615</c:v>
                </c:pt>
                <c:pt idx="1">
                  <c:v>0.49716979619325563</c:v>
                </c:pt>
                <c:pt idx="2">
                  <c:v>0.49084734531599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6487982826692</c:v>
                </c:pt>
                <c:pt idx="1">
                  <c:v>0.28934548777269226</c:v>
                </c:pt>
                <c:pt idx="2">
                  <c:v>0.292902843057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35120171733079</c:v>
                </c:pt>
                <c:pt idx="1">
                  <c:v>0.7106545122273078</c:v>
                </c:pt>
                <c:pt idx="2">
                  <c:v>0.707097156942949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7100407249256</c:v>
                </c:pt>
                <c:pt idx="1">
                  <c:v>0.28977733347020734</c:v>
                </c:pt>
                <c:pt idx="2">
                  <c:v>0.296186602861020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52899592750743</c:v>
                </c:pt>
                <c:pt idx="1">
                  <c:v>0.7102226665297925</c:v>
                </c:pt>
                <c:pt idx="2">
                  <c:v>0.703813397138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84609865228016</c:v>
                </c:pt>
                <c:pt idx="1">
                  <c:v>0.3173274905894935</c:v>
                </c:pt>
                <c:pt idx="2">
                  <c:v>0.283152126019650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5835335846911</c:v>
                </c:pt>
                <c:pt idx="1">
                  <c:v>0.15231298711933045</c:v>
                </c:pt>
                <c:pt idx="2">
                  <c:v>0.168518331675157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63493444165408</c:v>
                </c:pt>
                <c:pt idx="1">
                  <c:v>0.09910597086402965</c:v>
                </c:pt>
                <c:pt idx="2">
                  <c:v>0.113628671667162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332054545085325</c:v>
                </c:pt>
                <c:pt idx="1">
                  <c:v>0.43125355142714644</c:v>
                </c:pt>
                <c:pt idx="2">
                  <c:v>0.434700870638029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005249830152553</c:v>
                </c:pt>
                <c:pt idx="1">
                  <c:v>0.16655540720961282</c:v>
                </c:pt>
                <c:pt idx="2">
                  <c:v>0.14115898959881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17114446297326</c:v>
                </c:pt>
                <c:pt idx="1">
                  <c:v>0.1259086188992731</c:v>
                </c:pt>
                <c:pt idx="2">
                  <c:v>0.135958395245170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393490210610834</c:v>
                </c:pt>
                <c:pt idx="1">
                  <c:v>0.1916258715324136</c:v>
                </c:pt>
                <c:pt idx="2">
                  <c:v>0.2150817236255572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368414551293929</c:v>
                </c:pt>
                <c:pt idx="1">
                  <c:v>0.5159101023587005</c:v>
                </c:pt>
                <c:pt idx="2">
                  <c:v>0.50780089153046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90487452371567</c:v>
                </c:pt>
                <c:pt idx="1">
                  <c:v>0.41256376399958206</c:v>
                </c:pt>
                <c:pt idx="2">
                  <c:v>0.39788863479232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76241154719672</c:v>
                </c:pt>
                <c:pt idx="1">
                  <c:v>0.16207692526906745</c:v>
                </c:pt>
                <c:pt idx="2">
                  <c:v>0.168271020581822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34044709724647</c:v>
                </c:pt>
                <c:pt idx="1">
                  <c:v>0.08870439152283155</c:v>
                </c:pt>
                <c:pt idx="2">
                  <c:v>0.0919534116896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0084839611840006</c:v>
                </c:pt>
                <c:pt idx="1">
                  <c:v>0.33665491920851903</c:v>
                </c:pt>
                <c:pt idx="2">
                  <c:v>0.341886932936233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58620689655173</c:v>
                </c:pt>
                <c:pt idx="1">
                  <c:v>0.23711340206185566</c:v>
                </c:pt>
                <c:pt idx="2">
                  <c:v>0.22312373225152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24137931034483</c:v>
                </c:pt>
                <c:pt idx="1">
                  <c:v>0.14591593973037273</c:v>
                </c:pt>
                <c:pt idx="2">
                  <c:v>0.158215010141987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48275862068966</c:v>
                </c:pt>
                <c:pt idx="1">
                  <c:v>0.19191118160190326</c:v>
                </c:pt>
                <c:pt idx="2">
                  <c:v>0.186612576064908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606896551724138</c:v>
                </c:pt>
                <c:pt idx="1">
                  <c:v>0.42505947660586835</c:v>
                </c:pt>
                <c:pt idx="2">
                  <c:v>0.432048681541582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1590845136479</c:v>
                </c:pt>
                <c:pt idx="1">
                  <c:v>0.33215878549373934</c:v>
                </c:pt>
                <c:pt idx="2">
                  <c:v>0.29789369115483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395648741765</c:v>
                </c:pt>
                <c:pt idx="1">
                  <c:v>0.15605660844695995</c:v>
                </c:pt>
                <c:pt idx="2">
                  <c:v>0.17862330332444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95721357589197</c:v>
                </c:pt>
                <c:pt idx="1">
                  <c:v>0.09065997547726262</c:v>
                </c:pt>
                <c:pt idx="2">
                  <c:v>0.104501953071987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5441370362837</c:v>
                </c:pt>
                <c:pt idx="1">
                  <c:v>0.4211246305820381</c:v>
                </c:pt>
                <c:pt idx="2">
                  <c:v>0.41898105244872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391841200375118</c:v>
                </c:pt>
                <c:pt idx="1">
                  <c:v>0.18315892970011938</c:v>
                </c:pt>
                <c:pt idx="2">
                  <c:v>0.157982708933717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5151609878087</c:v>
                </c:pt>
                <c:pt idx="1">
                  <c:v>0.1298780345061685</c:v>
                </c:pt>
                <c:pt idx="2">
                  <c:v>0.14299711815561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63277586745858</c:v>
                </c:pt>
                <c:pt idx="1">
                  <c:v>0.17964744715218767</c:v>
                </c:pt>
                <c:pt idx="2">
                  <c:v>0.2013256484149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262386683338544</c:v>
                </c:pt>
                <c:pt idx="1">
                  <c:v>0.5073155886415245</c:v>
                </c:pt>
                <c:pt idx="2">
                  <c:v>0.49769452449567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914465842344863</c:v>
                </c:pt>
                <c:pt idx="1">
                  <c:v>0.31512073244900307</c:v>
                </c:pt>
                <c:pt idx="2">
                  <c:v>0.26481058392221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90899429868022</c:v>
                </c:pt>
                <c:pt idx="1">
                  <c:v>0.10893042063218107</c:v>
                </c:pt>
                <c:pt idx="2">
                  <c:v>0.120238031985548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19463472778711</c:v>
                </c:pt>
                <c:pt idx="1">
                  <c:v>0.5759488469188159</c:v>
                </c:pt>
                <c:pt idx="2">
                  <c:v>0.61495138409223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90452261306533</c:v>
                </c:pt>
                <c:pt idx="1">
                  <c:v>0.18306636155606407</c:v>
                </c:pt>
                <c:pt idx="2">
                  <c:v>0.153310104529616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81909547738693</c:v>
                </c:pt>
                <c:pt idx="1">
                  <c:v>0.18993135011441648</c:v>
                </c:pt>
                <c:pt idx="2">
                  <c:v>0.212543554006968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2763819095477</c:v>
                </c:pt>
                <c:pt idx="1">
                  <c:v>0.6270022883295194</c:v>
                </c:pt>
                <c:pt idx="2">
                  <c:v>0.634146341463414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1521226985449</c:v>
                </c:pt>
                <c:pt idx="1">
                  <c:v>0.3124328646308665</c:v>
                </c:pt>
                <c:pt idx="2">
                  <c:v>0.2718369787357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11507869158369</c:v>
                </c:pt>
                <c:pt idx="1">
                  <c:v>0.17322742434399155</c:v>
                </c:pt>
                <c:pt idx="2">
                  <c:v>0.14515118949134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77260651745883</c:v>
                </c:pt>
                <c:pt idx="1">
                  <c:v>0.10027904084253374</c:v>
                </c:pt>
                <c:pt idx="2">
                  <c:v>0.120923244240676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92448386815935</c:v>
                </c:pt>
                <c:pt idx="1">
                  <c:v>0.41406067018260817</c:v>
                </c:pt>
                <c:pt idx="2">
                  <c:v>0.462088587532182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95014521553944</c:v>
                </c:pt>
                <c:pt idx="1">
                  <c:v>0.3478970726272433</c:v>
                </c:pt>
                <c:pt idx="2">
                  <c:v>0.29412359853708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42535850638137</c:v>
                </c:pt>
                <c:pt idx="1">
                  <c:v>0.11359955965761784</c:v>
                </c:pt>
                <c:pt idx="2">
                  <c:v>0.137586935667605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686244962780791</c:v>
                </c:pt>
                <c:pt idx="1">
                  <c:v>0.5385033677151388</c:v>
                </c:pt>
                <c:pt idx="2">
                  <c:v>0.568289465795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912529744810043</c:v>
                </c:pt>
                <c:pt idx="1">
                  <c:v>0.19899459356919283</c:v>
                </c:pt>
                <c:pt idx="2">
                  <c:v>0.161167512690355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7363584147042</c:v>
                </c:pt>
                <c:pt idx="1">
                  <c:v>0.2097126055202504</c:v>
                </c:pt>
                <c:pt idx="2">
                  <c:v>0.24340101522842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21383441371954</c:v>
                </c:pt>
                <c:pt idx="1">
                  <c:v>0.5912928009105567</c:v>
                </c:pt>
                <c:pt idx="2">
                  <c:v>0.59543147208121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79245067852663</c:v>
                </c:pt>
                <c:pt idx="1">
                  <c:v>0.32144163817842974</c:v>
                </c:pt>
                <c:pt idx="2">
                  <c:v>0.29251937176010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26071007716577</c:v>
                </c:pt>
                <c:pt idx="1">
                  <c:v>0.11857013822988006</c:v>
                </c:pt>
                <c:pt idx="2">
                  <c:v>0.1284291685014794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9814783137568</c:v>
                </c:pt>
                <c:pt idx="1">
                  <c:v>0.5599882235916903</c:v>
                </c:pt>
                <c:pt idx="2">
                  <c:v>0.57905145973841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4</c:v>
                </c:pt>
                <c:pt idx="1">
                  <c:v>0.005608</c:v>
                </c:pt>
                <c:pt idx="2">
                  <c:v>0.0018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89</c:v>
                </c:pt>
                <c:pt idx="1">
                  <c:v>0.001057</c:v>
                </c:pt>
                <c:pt idx="2">
                  <c:v>0.0003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85</c:v>
                </c:pt>
                <c:pt idx="1">
                  <c:v>0.003673</c:v>
                </c:pt>
                <c:pt idx="2">
                  <c:v>0.001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75434678577125</c:v>
                </c:pt>
                <c:pt idx="1">
                  <c:v>0.18107242897158862</c:v>
                </c:pt>
                <c:pt idx="2">
                  <c:v>0.161324224908039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36401339926623</c:v>
                </c:pt>
                <c:pt idx="1">
                  <c:v>0.2189875950380152</c:v>
                </c:pt>
                <c:pt idx="2">
                  <c:v>0.233578560168155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178816398149626</c:v>
                </c:pt>
                <c:pt idx="1">
                  <c:v>0.5999399759903962</c:v>
                </c:pt>
                <c:pt idx="2">
                  <c:v>0.60509721492380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6688</c:v>
                </c:pt>
                <c:pt idx="1">
                  <c:v>0.72838</c:v>
                </c:pt>
                <c:pt idx="2">
                  <c:v>0.238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155</c:v>
                </c:pt>
                <c:pt idx="1">
                  <c:v>0.054486</c:v>
                </c:pt>
                <c:pt idx="2">
                  <c:v>0.02002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3565</c:v>
                </c:pt>
                <c:pt idx="1">
                  <c:v>0.307401</c:v>
                </c:pt>
                <c:pt idx="2">
                  <c:v>0.1318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54</c:v>
                </c:pt>
                <c:pt idx="1">
                  <c:v>0.006979</c:v>
                </c:pt>
                <c:pt idx="2">
                  <c:v>0.0024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84</c:v>
                </c:pt>
                <c:pt idx="1">
                  <c:v>0.000668</c:v>
                </c:pt>
                <c:pt idx="2">
                  <c:v>0.0003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854</c:v>
                </c:pt>
                <c:pt idx="1">
                  <c:v>0.002465</c:v>
                </c:pt>
                <c:pt idx="2">
                  <c:v>0.0010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14379</c:v>
                </c:pt>
                <c:pt idx="1">
                  <c:v>0.894749</c:v>
                </c:pt>
                <c:pt idx="2">
                  <c:v>0.3162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03</c:v>
                </c:pt>
                <c:pt idx="1">
                  <c:v>0.035066</c:v>
                </c:pt>
                <c:pt idx="2">
                  <c:v>0.0163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0336</c:v>
                </c:pt>
                <c:pt idx="1">
                  <c:v>0.220278</c:v>
                </c:pt>
                <c:pt idx="2">
                  <c:v>0.0915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97</c:v>
                </c:pt>
                <c:pt idx="1">
                  <c:v>0.000371</c:v>
                </c:pt>
                <c:pt idx="2">
                  <c:v>0.00013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9</c:v>
                </c:pt>
                <c:pt idx="1">
                  <c:v>0.000662</c:v>
                </c:pt>
                <c:pt idx="2">
                  <c:v>0.0001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59</c:v>
                </c:pt>
                <c:pt idx="1">
                  <c:v>0.001427</c:v>
                </c:pt>
                <c:pt idx="2">
                  <c:v>0.0005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761</c:v>
                </c:pt>
                <c:pt idx="1">
                  <c:v>0.033122</c:v>
                </c:pt>
                <c:pt idx="2">
                  <c:v>0.0111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0095</c:v>
                </c:pt>
                <c:pt idx="1">
                  <c:v>0.034752</c:v>
                </c:pt>
                <c:pt idx="2">
                  <c:v>0.0098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0744</c:v>
                </c:pt>
                <c:pt idx="1">
                  <c:v>0.105704</c:v>
                </c:pt>
                <c:pt idx="2">
                  <c:v>0.0355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82496661339405</c:v>
                </c:pt>
                <c:pt idx="1">
                  <c:v>0.31565240391462696</c:v>
                </c:pt>
                <c:pt idx="2">
                  <c:v>0.29696205890156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517503338660594</c:v>
                </c:pt>
                <c:pt idx="1">
                  <c:v>0.684347596085373</c:v>
                </c:pt>
                <c:pt idx="2">
                  <c:v>0.70303794109843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554347826086956</c:v>
                </c:pt>
                <c:pt idx="1">
                  <c:v>0.2345475910693302</c:v>
                </c:pt>
                <c:pt idx="2">
                  <c:v>0.2356687898089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244565217391306</c:v>
                </c:pt>
                <c:pt idx="1">
                  <c:v>0.7654524089306698</c:v>
                </c:pt>
                <c:pt idx="2">
                  <c:v>0.7643312101910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7245</c:v>
                </c:pt>
                <c:pt idx="1">
                  <c:v>0.03204</c:v>
                </c:pt>
                <c:pt idx="2">
                  <c:v>0.0110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2</c:v>
                </c:pt>
                <c:pt idx="1">
                  <c:v>0.008526</c:v>
                </c:pt>
                <c:pt idx="2">
                  <c:v>0.00305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764</c:v>
                </c:pt>
                <c:pt idx="1">
                  <c:v>0.022377</c:v>
                </c:pt>
                <c:pt idx="2">
                  <c:v>0.009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837489</c:v>
                </c:pt>
                <c:pt idx="1">
                  <c:v>4.151259</c:v>
                </c:pt>
                <c:pt idx="2">
                  <c:v>1.4334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28</c:v>
                </c:pt>
                <c:pt idx="1">
                  <c:v>0.437571</c:v>
                </c:pt>
                <c:pt idx="2">
                  <c:v>0.160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85024</c:v>
                </c:pt>
                <c:pt idx="1">
                  <c:v>1.66062</c:v>
                </c:pt>
                <c:pt idx="2">
                  <c:v>0.6706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592</c:v>
                </c:pt>
                <c:pt idx="1">
                  <c:v>0.005763</c:v>
                </c:pt>
                <c:pt idx="2">
                  <c:v>0.0020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2</c:v>
                </c:pt>
                <c:pt idx="1">
                  <c:v>0.001307</c:v>
                </c:pt>
                <c:pt idx="2">
                  <c:v>0.00043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045</c:v>
                </c:pt>
                <c:pt idx="1">
                  <c:v>0.00252</c:v>
                </c:pt>
                <c:pt idx="2">
                  <c:v>0.0010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067</c:v>
                </c:pt>
                <c:pt idx="1">
                  <c:v>0.75483</c:v>
                </c:pt>
                <c:pt idx="2">
                  <c:v>0.2629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38</c:v>
                </c:pt>
                <c:pt idx="1">
                  <c:v>0.067457</c:v>
                </c:pt>
                <c:pt idx="2">
                  <c:v>0.0235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847</c:v>
                </c:pt>
                <c:pt idx="1">
                  <c:v>0.188883</c:v>
                </c:pt>
                <c:pt idx="2">
                  <c:v>0.0778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51990828271576</c:v>
                </c:pt>
                <c:pt idx="1">
                  <c:v>0.319009404122473</c:v>
                </c:pt>
                <c:pt idx="2">
                  <c:v>0.31388939808835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007328090119154</c:v>
                </c:pt>
                <c:pt idx="1">
                  <c:v>0.2724132379057889</c:v>
                </c:pt>
                <c:pt idx="2">
                  <c:v>0.2753133301453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598743996700916</c:v>
                </c:pt>
                <c:pt idx="1">
                  <c:v>0.15308179057660615</c:v>
                </c:pt>
                <c:pt idx="2">
                  <c:v>0.16150027177765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04193708490835</c:v>
                </c:pt>
                <c:pt idx="1">
                  <c:v>0.25549556739513196</c:v>
                </c:pt>
                <c:pt idx="2">
                  <c:v>0.249296999988640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671844903315435</c:v>
                </c:pt>
                <c:pt idx="1">
                  <c:v>0.33680632918051456</c:v>
                </c:pt>
                <c:pt idx="2">
                  <c:v>0.324687968536616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579680837823554</c:v>
                </c:pt>
                <c:pt idx="1">
                  <c:v>0.2317126664067287</c:v>
                </c:pt>
                <c:pt idx="2">
                  <c:v>0.239033011305297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14874794796822</c:v>
                </c:pt>
                <c:pt idx="1">
                  <c:v>0.14463563295931145</c:v>
                </c:pt>
                <c:pt idx="2">
                  <c:v>0.1526431793894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933599464064186</c:v>
                </c:pt>
                <c:pt idx="1">
                  <c:v>0.2868453714534453</c:v>
                </c:pt>
                <c:pt idx="2">
                  <c:v>0.28363584076860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1</c:v>
                </c:pt>
                <c:pt idx="1">
                  <c:v>0.000646</c:v>
                </c:pt>
                <c:pt idx="2">
                  <c:v>0.00023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1</c:v>
                </c:pt>
                <c:pt idx="1">
                  <c:v>0.000265</c:v>
                </c:pt>
                <c:pt idx="2">
                  <c:v>7.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7</c:v>
                </c:pt>
                <c:pt idx="1">
                  <c:v>0.000235</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9</c:v>
                </c:pt>
                <c:pt idx="1">
                  <c:v>0.000415</c:v>
                </c:pt>
                <c:pt idx="2">
                  <c:v>0.0001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3199</c:v>
                </c:pt>
                <c:pt idx="1">
                  <c:v>0.084116</c:v>
                </c:pt>
                <c:pt idx="2">
                  <c:v>0.0301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43</c:v>
                </c:pt>
                <c:pt idx="1">
                  <c:v>0.012532</c:v>
                </c:pt>
                <c:pt idx="2">
                  <c:v>0.0036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05</c:v>
                </c:pt>
                <c:pt idx="1">
                  <c:v>0.012677</c:v>
                </c:pt>
                <c:pt idx="2">
                  <c:v>0.0035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1582</c:v>
                </c:pt>
                <c:pt idx="1">
                  <c:v>0.031475</c:v>
                </c:pt>
                <c:pt idx="2">
                  <c:v>0.0096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076317900475866</c:v>
                </c:pt>
                <c:pt idx="1">
                  <c:v>0.11428266521116329</c:v>
                </c:pt>
                <c:pt idx="2">
                  <c:v>0.117606699904679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77350153591894</c:v>
                </c:pt>
                <c:pt idx="1">
                  <c:v>0.07031830032406633</c:v>
                </c:pt>
                <c:pt idx="2">
                  <c:v>0.072333572337560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96828489642281</c:v>
                </c:pt>
                <c:pt idx="1">
                  <c:v>0.03596305374750625</c:v>
                </c:pt>
                <c:pt idx="2">
                  <c:v>0.0332035465588834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60779851037154</c:v>
                </c:pt>
                <c:pt idx="1">
                  <c:v>0.033519902338322534</c:v>
                </c:pt>
                <c:pt idx="2">
                  <c:v>0.0343497176894100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082309679877856</c:v>
                </c:pt>
                <c:pt idx="1">
                  <c:v>0.03286966694024452</c:v>
                </c:pt>
                <c:pt idx="2">
                  <c:v>0.0350748214576226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167585898073802</c:v>
                </c:pt>
                <c:pt idx="1">
                  <c:v>0.03133251553084891</c:v>
                </c:pt>
                <c:pt idx="2">
                  <c:v>0.0306638667717869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322662712529357</c:v>
                </c:pt>
                <c:pt idx="1">
                  <c:v>0.028396190872514875</c:v>
                </c:pt>
                <c:pt idx="2">
                  <c:v>0.02825480347037486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413036035760422</c:v>
                </c:pt>
                <c:pt idx="1">
                  <c:v>0.02662691605581327</c:v>
                </c:pt>
                <c:pt idx="2">
                  <c:v>0.02304627543636469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257516284950281</c:v>
                </c:pt>
                <c:pt idx="1">
                  <c:v>0.005173194907955903</c:v>
                </c:pt>
                <c:pt idx="2">
                  <c:v>0.00443044963143224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243950652397714</c:v>
                </c:pt>
                <c:pt idx="1">
                  <c:v>0.6215175940715643</c:v>
                </c:pt>
                <c:pt idx="2">
                  <c:v>0.6210362467418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217305469793548</c:v>
                </c:pt>
                <c:pt idx="1">
                  <c:v>0.17292864134912805</c:v>
                </c:pt>
                <c:pt idx="2">
                  <c:v>0.17357155766235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878327744389877</c:v>
                </c:pt>
                <c:pt idx="1">
                  <c:v>0.020233737356441937</c:v>
                </c:pt>
                <c:pt idx="2">
                  <c:v>0.0207905213894921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115655469328712</c:v>
                </c:pt>
                <c:pt idx="1">
                  <c:v>0.00923657166625324</c:v>
                </c:pt>
                <c:pt idx="2">
                  <c:v>0.0081959805655730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827138954830122</c:v>
                </c:pt>
                <c:pt idx="1">
                  <c:v>0.13740080237050054</c:v>
                </c:pt>
                <c:pt idx="2">
                  <c:v>0.1478855163993805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6990161581877916</c:v>
                </c:pt>
                <c:pt idx="1">
                  <c:v>0.007195538112468775</c:v>
                </c:pt>
                <c:pt idx="2">
                  <c:v>0.0074257755181122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227516819574596</c:v>
                </c:pt>
                <c:pt idx="1">
                  <c:v>0.04132083999663097</c:v>
                </c:pt>
                <c:pt idx="2">
                  <c:v>0.0390335806135865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70843955218973</c:v>
                </c:pt>
                <c:pt idx="1">
                  <c:v>0.03773139457053181</c:v>
                </c:pt>
                <c:pt idx="2">
                  <c:v>0.0353670181027451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598804642712705</c:v>
                </c:pt>
                <c:pt idx="1">
                  <c:v>0.027106867509807186</c:v>
                </c:pt>
                <c:pt idx="2">
                  <c:v>0.02415504328197353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4895825618240315</c:v>
                </c:pt>
                <c:pt idx="1">
                  <c:v>0.0013839687186929493</c:v>
                </c:pt>
                <c:pt idx="2">
                  <c:v>0.001165616777222484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85470673818656</c:v>
                </c:pt>
                <c:pt idx="1">
                  <c:v>0.5454616383495445</c:v>
                </c:pt>
                <c:pt idx="2">
                  <c:v>0.54240938968956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c:v>
                </c:pt>
                <c:pt idx="1">
                  <c:v>0.000408</c:v>
                </c:pt>
                <c:pt idx="2">
                  <c:v>0.0001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27</c:v>
                </c:pt>
                <c:pt idx="1">
                  <c:v>0.0001</c:v>
                </c:pt>
                <c:pt idx="2">
                  <c:v>4.1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59</c:v>
                </c:pt>
                <c:pt idx="1">
                  <c:v>0.000395</c:v>
                </c:pt>
                <c:pt idx="2">
                  <c:v>0.0001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4765061176093</c:v>
                </c:pt>
                <c:pt idx="1">
                  <c:v>0.2973095441785637</c:v>
                </c:pt>
                <c:pt idx="2">
                  <c:v>0.240906759356676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41727757981629</c:v>
                </c:pt>
                <c:pt idx="1">
                  <c:v>0.08191483574900728</c:v>
                </c:pt>
                <c:pt idx="2">
                  <c:v>0.072222741172653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387773960819116</c:v>
                </c:pt>
                <c:pt idx="1">
                  <c:v>0.0552260480695213</c:v>
                </c:pt>
                <c:pt idx="2">
                  <c:v>0.073593589705771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64725075196619</c:v>
                </c:pt>
                <c:pt idx="1">
                  <c:v>0.05942195255026267</c:v>
                </c:pt>
                <c:pt idx="2">
                  <c:v>0.067292029249138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89383631824957</c:v>
                </c:pt>
                <c:pt idx="1">
                  <c:v>0.03573136980498234</c:v>
                </c:pt>
                <c:pt idx="2">
                  <c:v>0.039337944890741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089173294697955</c:v>
                </c:pt>
                <c:pt idx="1">
                  <c:v>0.0368832448987329</c:v>
                </c:pt>
                <c:pt idx="2">
                  <c:v>0.0425356355066977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67233772980316</c:v>
                </c:pt>
                <c:pt idx="1">
                  <c:v>0.033814490087577455</c:v>
                </c:pt>
                <c:pt idx="2">
                  <c:v>0.0389134980645880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19689981492087</c:v>
                </c:pt>
                <c:pt idx="1">
                  <c:v>0.028471161089435156</c:v>
                </c:pt>
                <c:pt idx="2">
                  <c:v>0.0324300318253180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5985124677734</c:v>
                </c:pt>
                <c:pt idx="1">
                  <c:v>0.028586876074525727</c:v>
                </c:pt>
                <c:pt idx="2">
                  <c:v>0.02804995362221938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072553592116694</c:v>
                </c:pt>
                <c:pt idx="1">
                  <c:v>0.3426404774973915</c:v>
                </c:pt>
                <c:pt idx="2">
                  <c:v>0.36471781660619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14845230574859</c:v>
                </c:pt>
                <c:pt idx="1">
                  <c:v>0.1702840274755426</c:v>
                </c:pt>
                <c:pt idx="2">
                  <c:v>0.129019750946494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7816382396294</c:v>
                </c:pt>
                <c:pt idx="1">
                  <c:v>0.07068518553560278</c:v>
                </c:pt>
                <c:pt idx="2">
                  <c:v>0.0580896775076403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44198778690251</c:v>
                </c:pt>
                <c:pt idx="1">
                  <c:v>0.04713607205707041</c:v>
                </c:pt>
                <c:pt idx="2">
                  <c:v>0.064863385485563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8157506843546</c:v>
                </c:pt>
                <c:pt idx="1">
                  <c:v>0.10736654871610499</c:v>
                </c:pt>
                <c:pt idx="2">
                  <c:v>0.116612689869087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596125500105284</c:v>
                </c:pt>
                <c:pt idx="1">
                  <c:v>0.017011372452551705</c:v>
                </c:pt>
                <c:pt idx="2">
                  <c:v>0.018724627103954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781217098336495</c:v>
                </c:pt>
                <c:pt idx="1">
                  <c:v>0.05009745113251462</c:v>
                </c:pt>
                <c:pt idx="2">
                  <c:v>0.0559458103361766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77511054958939</c:v>
                </c:pt>
                <c:pt idx="1">
                  <c:v>0.045584422956837664</c:v>
                </c:pt>
                <c:pt idx="2">
                  <c:v>0.0501300004561419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3400715940197935</c:v>
                </c:pt>
                <c:pt idx="1">
                  <c:v>0.004323802675648571</c:v>
                </c:pt>
                <c:pt idx="2">
                  <c:v>0.0049491401724216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554011370814908</c:v>
                </c:pt>
                <c:pt idx="1">
                  <c:v>0.017976422502696463</c:v>
                </c:pt>
                <c:pt idx="2">
                  <c:v>0.01840532773799206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67656348704991</c:v>
                </c:pt>
                <c:pt idx="1">
                  <c:v>0.4695346944954302</c:v>
                </c:pt>
                <c:pt idx="2">
                  <c:v>0.483259590384527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372632705277774</c:v>
                </c:pt>
                <c:pt idx="1">
                  <c:v>0.30368520152393036</c:v>
                </c:pt>
                <c:pt idx="2">
                  <c:v>0.31388885022300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67043251697705</c:v>
                </c:pt>
                <c:pt idx="1">
                  <c:v>0.07389476052105644</c:v>
                </c:pt>
                <c:pt idx="2">
                  <c:v>0.0804600712853386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09867782493656</c:v>
                </c:pt>
                <c:pt idx="1">
                  <c:v>0.06868324116925209</c:v>
                </c:pt>
                <c:pt idx="2">
                  <c:v>0.062958071349205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663525278893025</c:v>
                </c:pt>
                <c:pt idx="1">
                  <c:v>0.03675174269960204</c:v>
                </c:pt>
                <c:pt idx="2">
                  <c:v>0.045498649377829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813152586989194</c:v>
                </c:pt>
                <c:pt idx="1">
                  <c:v>0.033281729229127</c:v>
                </c:pt>
                <c:pt idx="2">
                  <c:v>0.03800492758061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02173178959945</c:v>
                </c:pt>
                <c:pt idx="1">
                  <c:v>0.033281198686588895</c:v>
                </c:pt>
                <c:pt idx="2">
                  <c:v>0.02783370684579980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986023961108526</c:v>
                </c:pt>
                <c:pt idx="1">
                  <c:v>0.02181511335306598</c:v>
                </c:pt>
                <c:pt idx="2">
                  <c:v>0.0208116178889681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6891437002994213</c:v>
                </c:pt>
                <c:pt idx="1">
                  <c:v>0.0312049204637154</c:v>
                </c:pt>
                <c:pt idx="2">
                  <c:v>0.02481067134805930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02628391183067</c:v>
                </c:pt>
                <c:pt idx="1">
                  <c:v>0.02664172409347523</c:v>
                </c:pt>
                <c:pt idx="2">
                  <c:v>0.029255155823068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122945285982045</c:v>
                </c:pt>
                <c:pt idx="1">
                  <c:v>0.3707603682601866</c:v>
                </c:pt>
                <c:pt idx="2">
                  <c:v>0.35647827827811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59767504334872</c:v>
                </c:pt>
                <c:pt idx="1">
                  <c:v>0.15204867628972749</c:v>
                </c:pt>
                <c:pt idx="2">
                  <c:v>0.15582576830182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12037511905634</c:v>
                </c:pt>
                <c:pt idx="1">
                  <c:v>0.11203314130364425</c:v>
                </c:pt>
                <c:pt idx="2">
                  <c:v>0.127800449737653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96573619556988</c:v>
                </c:pt>
                <c:pt idx="1">
                  <c:v>0.0504110298401191</c:v>
                </c:pt>
                <c:pt idx="2">
                  <c:v>0.0453069043058216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526143551420126</c:v>
                </c:pt>
                <c:pt idx="1">
                  <c:v>0.04215159557252897</c:v>
                </c:pt>
                <c:pt idx="2">
                  <c:v>0.054343299741817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577722421667033</c:v>
                </c:pt>
                <c:pt idx="1">
                  <c:v>0.024519386368049713</c:v>
                </c:pt>
                <c:pt idx="2">
                  <c:v>0.029815940701257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42772364275771</c:v>
                </c:pt>
                <c:pt idx="1">
                  <c:v>0.03775001618227717</c:v>
                </c:pt>
                <c:pt idx="2">
                  <c:v>0.032772549346214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53964881432095</c:v>
                </c:pt>
                <c:pt idx="1">
                  <c:v>0.0266036636675513</c:v>
                </c:pt>
                <c:pt idx="2">
                  <c:v>0.0275256100607978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430141402300536</c:v>
                </c:pt>
                <c:pt idx="1">
                  <c:v>0.023069454333613827</c:v>
                </c:pt>
                <c:pt idx="2">
                  <c:v>0.02011326726076455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043837155347156</c:v>
                </c:pt>
                <c:pt idx="1">
                  <c:v>0.014201566444430061</c:v>
                </c:pt>
                <c:pt idx="2">
                  <c:v>0.01503289747647205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75714948592083</c:v>
                </c:pt>
                <c:pt idx="1">
                  <c:v>0.5172114699980581</c:v>
                </c:pt>
                <c:pt idx="2">
                  <c:v>0.49146331306737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662</c:v>
                </c:pt>
                <c:pt idx="1">
                  <c:v>0.053177</c:v>
                </c:pt>
                <c:pt idx="2">
                  <c:v>0.01476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855</c:v>
                </c:pt>
                <c:pt idx="1">
                  <c:v>0.004931</c:v>
                </c:pt>
                <c:pt idx="2">
                  <c:v>0.0019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144</c:v>
                </c:pt>
                <c:pt idx="1">
                  <c:v>0.024037</c:v>
                </c:pt>
                <c:pt idx="2">
                  <c:v>0.00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988392746900828</c:v>
                </c:pt>
                <c:pt idx="1">
                  <c:v>0.19858348715425275</c:v>
                </c:pt>
                <c:pt idx="2">
                  <c:v>0.161598615664603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54516756580181</c:v>
                </c:pt>
                <c:pt idx="1">
                  <c:v>0.06625823957350696</c:v>
                </c:pt>
                <c:pt idx="2">
                  <c:v>0.056977865882563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37652941285129</c:v>
                </c:pt>
                <c:pt idx="1">
                  <c:v>0.04676777841392073</c:v>
                </c:pt>
                <c:pt idx="2">
                  <c:v>0.0424052164515797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70116694747424</c:v>
                </c:pt>
                <c:pt idx="1">
                  <c:v>0.07172932804259333</c:v>
                </c:pt>
                <c:pt idx="2">
                  <c:v>0.069491913107760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711768932150214</c:v>
                </c:pt>
                <c:pt idx="1">
                  <c:v>0.04987762345804974</c:v>
                </c:pt>
                <c:pt idx="2">
                  <c:v>0.0475069697441830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49179889576028</c:v>
                </c:pt>
                <c:pt idx="1">
                  <c:v>0.03977966392218275</c:v>
                </c:pt>
                <c:pt idx="2">
                  <c:v>0.0492274440514352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02997041555308</c:v>
                </c:pt>
                <c:pt idx="1">
                  <c:v>0.03655787844901871</c:v>
                </c:pt>
                <c:pt idx="2">
                  <c:v>0.043273741053699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11774279322676</c:v>
                </c:pt>
                <c:pt idx="1">
                  <c:v>0.03210824639487686</c:v>
                </c:pt>
                <c:pt idx="2">
                  <c:v>0.049820825363570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15952073779316</c:v>
                </c:pt>
                <c:pt idx="1">
                  <c:v>0.02904620924231488</c:v>
                </c:pt>
                <c:pt idx="2">
                  <c:v>0.04007810091460281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303194400829884</c:v>
                </c:pt>
                <c:pt idx="1">
                  <c:v>0.42929154534928327</c:v>
                </c:pt>
                <c:pt idx="2">
                  <c:v>0.43961930776600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08281231567772</c:v>
                </c:pt>
                <c:pt idx="1">
                  <c:v>0.08465951147298298</c:v>
                </c:pt>
                <c:pt idx="2">
                  <c:v>0.06608320649416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663599543863788</c:v>
                </c:pt>
                <c:pt idx="1">
                  <c:v>0.03983160621761658</c:v>
                </c:pt>
                <c:pt idx="2">
                  <c:v>0.0324708269913749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58047265148834</c:v>
                </c:pt>
                <c:pt idx="1">
                  <c:v>0.046585862324204294</c:v>
                </c:pt>
                <c:pt idx="2">
                  <c:v>0.0413495687468290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33636113404899</c:v>
                </c:pt>
                <c:pt idx="1">
                  <c:v>0.08808290155440414</c:v>
                </c:pt>
                <c:pt idx="2">
                  <c:v>0.084094368340943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25362746254571</c:v>
                </c:pt>
                <c:pt idx="1">
                  <c:v>0.047557364914877866</c:v>
                </c:pt>
                <c:pt idx="2">
                  <c:v>0.044266869609335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283433604655735</c:v>
                </c:pt>
                <c:pt idx="1">
                  <c:v>0.027710954848260548</c:v>
                </c:pt>
                <c:pt idx="2">
                  <c:v>0.0336123795027904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802052612952696</c:v>
                </c:pt>
                <c:pt idx="1">
                  <c:v>0.015590303478904515</c:v>
                </c:pt>
                <c:pt idx="2">
                  <c:v>0.01699644850329781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2106877433054</c:v>
                </c:pt>
                <c:pt idx="1">
                  <c:v>0.032244633604737234</c:v>
                </c:pt>
                <c:pt idx="2">
                  <c:v>0.047945205479452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346466910463607</c:v>
                </c:pt>
                <c:pt idx="1">
                  <c:v>0.018088452997779423</c:v>
                </c:pt>
                <c:pt idx="2">
                  <c:v>0.02562151192288178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604577090951988</c:v>
                </c:pt>
                <c:pt idx="1">
                  <c:v>0.5996484085862324</c:v>
                </c:pt>
                <c:pt idx="2">
                  <c:v>0.60755961440892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86664675914614</c:v>
                </c:pt>
                <c:pt idx="1">
                  <c:v>0.1899723612121852</c:v>
                </c:pt>
                <c:pt idx="2">
                  <c:v>0.141914518616435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03204205916152</c:v>
                </c:pt>
                <c:pt idx="1">
                  <c:v>0.06215522214722839</c:v>
                </c:pt>
                <c:pt idx="2">
                  <c:v>0.067002643754130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075114694465</c:v>
                </c:pt>
                <c:pt idx="1">
                  <c:v>0.062049644240159574</c:v>
                </c:pt>
                <c:pt idx="2">
                  <c:v>0.06515752368363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265095782320312</c:v>
                </c:pt>
                <c:pt idx="1">
                  <c:v>0.049859166613249274</c:v>
                </c:pt>
                <c:pt idx="2">
                  <c:v>0.058063450099140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66322809494078</c:v>
                </c:pt>
                <c:pt idx="1">
                  <c:v>0.04547391283035516</c:v>
                </c:pt>
                <c:pt idx="2">
                  <c:v>0.050705001101564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376469310747346</c:v>
                </c:pt>
                <c:pt idx="1">
                  <c:v>0.028852933746092674</c:v>
                </c:pt>
                <c:pt idx="2">
                  <c:v>0.0507600793126239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33343287093592</c:v>
                </c:pt>
                <c:pt idx="1">
                  <c:v>0.03533089247267229</c:v>
                </c:pt>
                <c:pt idx="2">
                  <c:v>0.0311632518175809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4961406556814</c:v>
                </c:pt>
                <c:pt idx="1">
                  <c:v>0.026618829819725725</c:v>
                </c:pt>
                <c:pt idx="2">
                  <c:v>0.01378607622824410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987358724470868</c:v>
                </c:pt>
                <c:pt idx="1">
                  <c:v>0.03311375642422711</c:v>
                </c:pt>
                <c:pt idx="2">
                  <c:v>0.0321656752588675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73841518038929</c:v>
                </c:pt>
                <c:pt idx="1">
                  <c:v>0.46657328049410457</c:v>
                </c:pt>
                <c:pt idx="2">
                  <c:v>0.489281780127781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996963562753036</c:v>
                </c:pt>
                <c:pt idx="1">
                  <c:v>0.07833883907503539</c:v>
                </c:pt>
                <c:pt idx="2">
                  <c:v>0.0534710893601595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4073886639676</c:v>
                </c:pt>
                <c:pt idx="1">
                  <c:v>0.06627115216072271</c:v>
                </c:pt>
                <c:pt idx="2">
                  <c:v>0.06615914446257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1103238866397</c:v>
                </c:pt>
                <c:pt idx="1">
                  <c:v>0.034382795118991435</c:v>
                </c:pt>
                <c:pt idx="2">
                  <c:v>0.030995106035889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763917004048583</c:v>
                </c:pt>
                <c:pt idx="1">
                  <c:v>0.04294478527607362</c:v>
                </c:pt>
                <c:pt idx="2">
                  <c:v>0.0444081928584375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3590587044534416</c:v>
                </c:pt>
                <c:pt idx="1">
                  <c:v>0.03148385356974314</c:v>
                </c:pt>
                <c:pt idx="2">
                  <c:v>0.0317201377560268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116396761133602</c:v>
                </c:pt>
                <c:pt idx="1">
                  <c:v>0.016921728578170297</c:v>
                </c:pt>
                <c:pt idx="2">
                  <c:v>0.0261011419249592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364372469635626</c:v>
                </c:pt>
                <c:pt idx="1">
                  <c:v>0.031214184588417716</c:v>
                </c:pt>
                <c:pt idx="2">
                  <c:v>0.0250135943447525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085020242915</c:v>
                </c:pt>
                <c:pt idx="1">
                  <c:v>0.023596035865974516</c:v>
                </c:pt>
                <c:pt idx="2">
                  <c:v>0.0121442813123074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456983805668015</c:v>
                </c:pt>
                <c:pt idx="1">
                  <c:v>0.026157891188566037</c:v>
                </c:pt>
                <c:pt idx="2">
                  <c:v>0.0242885626246148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4035931174089</c:v>
                </c:pt>
                <c:pt idx="1">
                  <c:v>0.648688734578305</c:v>
                </c:pt>
                <c:pt idx="2">
                  <c:v>0.68569874932028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14137744326308</c:v>
                </c:pt>
                <c:pt idx="1">
                  <c:v>0.22063652012419954</c:v>
                </c:pt>
                <c:pt idx="2">
                  <c:v>0.185883536964927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7228175898143</c:v>
                </c:pt>
                <c:pt idx="1">
                  <c:v>0.09290387863568982</c:v>
                </c:pt>
                <c:pt idx="2">
                  <c:v>0.105239518917518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7530349760314</c:v>
                </c:pt>
                <c:pt idx="1">
                  <c:v>0.07358996145142689</c:v>
                </c:pt>
                <c:pt idx="2">
                  <c:v>0.0677829676446132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89295964200234</c:v>
                </c:pt>
                <c:pt idx="1">
                  <c:v>0.052434524052933064</c:v>
                </c:pt>
                <c:pt idx="2">
                  <c:v>0.060461090386983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239509453652596</c:v>
                </c:pt>
                <c:pt idx="1">
                  <c:v>0.0323499551441823</c:v>
                </c:pt>
                <c:pt idx="2">
                  <c:v>0.026060603306874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86694074107927</c:v>
                </c:pt>
                <c:pt idx="1">
                  <c:v>0.036477346676151094</c:v>
                </c:pt>
                <c:pt idx="2">
                  <c:v>0.0454563422646498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96650806961153</c:v>
                </c:pt>
                <c:pt idx="1">
                  <c:v>0.03403530878993964</c:v>
                </c:pt>
                <c:pt idx="2">
                  <c:v>0.0367304747667967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4602869271831</c:v>
                </c:pt>
                <c:pt idx="1">
                  <c:v>0.030600401556751824</c:v>
                </c:pt>
                <c:pt idx="2">
                  <c:v>0.0309295869360752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188483255465283</c:v>
                </c:pt>
                <c:pt idx="1">
                  <c:v>0.030282683365719387</c:v>
                </c:pt>
                <c:pt idx="2">
                  <c:v>0.02914551972629005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624581338032533</c:v>
                </c:pt>
                <c:pt idx="1">
                  <c:v>0.3966894202030064</c:v>
                </c:pt>
                <c:pt idx="2">
                  <c:v>0.41231035908527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45563846467486</c:v>
                </c:pt>
                <c:pt idx="1">
                  <c:v>0.10810759627912614</c:v>
                </c:pt>
                <c:pt idx="2">
                  <c:v>0.08581265298811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09854177923486</c:v>
                </c:pt>
                <c:pt idx="1">
                  <c:v>0.12965866739387327</c:v>
                </c:pt>
                <c:pt idx="2">
                  <c:v>0.144560090748074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78523481033848</c:v>
                </c:pt>
                <c:pt idx="1">
                  <c:v>0.05148016846953307</c:v>
                </c:pt>
                <c:pt idx="2">
                  <c:v>0.043831718044140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72327948844594</c:v>
                </c:pt>
                <c:pt idx="1">
                  <c:v>0.055722207072084355</c:v>
                </c:pt>
                <c:pt idx="2">
                  <c:v>0.062737566916754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970799120890776</c:v>
                </c:pt>
                <c:pt idx="1">
                  <c:v>0.036462594309608215</c:v>
                </c:pt>
                <c:pt idx="2">
                  <c:v>0.0298413898784055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7162220844700647</c:v>
                </c:pt>
                <c:pt idx="1">
                  <c:v>0.025418143805108626</c:v>
                </c:pt>
                <c:pt idx="2">
                  <c:v>0.0320603395092439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23946776102284</c:v>
                </c:pt>
                <c:pt idx="1">
                  <c:v>0.035909614277489926</c:v>
                </c:pt>
                <c:pt idx="2">
                  <c:v>0.03689625664192322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09141807742924</c:v>
                </c:pt>
                <c:pt idx="1">
                  <c:v>0.03355376783928734</c:v>
                </c:pt>
                <c:pt idx="2">
                  <c:v>0.0321100917431192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931275669690954</c:v>
                </c:pt>
                <c:pt idx="1">
                  <c:v>0.02623246371541981</c:v>
                </c:pt>
                <c:pt idx="2">
                  <c:v>0.0236621624310931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825421239835714</c:v>
                </c:pt>
                <c:pt idx="1">
                  <c:v>0.4974547768384692</c:v>
                </c:pt>
                <c:pt idx="2">
                  <c:v>0.50848773109912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32345751062822</c:v>
                </c:pt>
                <c:pt idx="1">
                  <c:v>0.14294849873347112</c:v>
                </c:pt>
                <c:pt idx="2">
                  <c:v>0.150398991815116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26107813669519</c:v>
                </c:pt>
                <c:pt idx="1">
                  <c:v>0.07310848697117468</c:v>
                </c:pt>
                <c:pt idx="2">
                  <c:v>0.069038204056032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7821587573244</c:v>
                </c:pt>
                <c:pt idx="1">
                  <c:v>0.06682001017264419</c:v>
                </c:pt>
                <c:pt idx="2">
                  <c:v>0.0729290371655316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830278637456591</c:v>
                </c:pt>
                <c:pt idx="1">
                  <c:v>0.054129261636575325</c:v>
                </c:pt>
                <c:pt idx="2">
                  <c:v>0.0479187807087312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88369670127731</c:v>
                </c:pt>
                <c:pt idx="1">
                  <c:v>0.04951662366131015</c:v>
                </c:pt>
                <c:pt idx="2">
                  <c:v>0.0507405373148099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607392837329316</c:v>
                </c:pt>
                <c:pt idx="1">
                  <c:v>0.045144738816502446</c:v>
                </c:pt>
                <c:pt idx="2">
                  <c:v>0.036729606974876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8816558537929</c:v>
                </c:pt>
                <c:pt idx="1">
                  <c:v>0.04032575824451888</c:v>
                </c:pt>
                <c:pt idx="2">
                  <c:v>0.042711716417267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4859687815714</c:v>
                </c:pt>
                <c:pt idx="1">
                  <c:v>0.03572111470529163</c:v>
                </c:pt>
                <c:pt idx="2">
                  <c:v>0.0341839953358364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42149638852584</c:v>
                </c:pt>
                <c:pt idx="1">
                  <c:v>0.010516472132288453</c:v>
                </c:pt>
                <c:pt idx="2">
                  <c:v>0.0092119763523562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8733924519020994</c:v>
                </c:pt>
                <c:pt idx="1">
                  <c:v>0.48176903492622314</c:v>
                </c:pt>
                <c:pt idx="2">
                  <c:v>0.48613715385944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36971456092414</c:v>
                </c:pt>
                <c:pt idx="1">
                  <c:v>0.13489591649205943</c:v>
                </c:pt>
                <c:pt idx="2">
                  <c:v>0.1428176714091286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532459983012691</c:v>
                </c:pt>
                <c:pt idx="1">
                  <c:v>0.06157912293781607</c:v>
                </c:pt>
                <c:pt idx="2">
                  <c:v>0.05630117866506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140871935449994</c:v>
                </c:pt>
                <c:pt idx="1">
                  <c:v>0.04797179538489895</c:v>
                </c:pt>
                <c:pt idx="2">
                  <c:v>0.0510103593861631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114234115603201</c:v>
                </c:pt>
                <c:pt idx="1">
                  <c:v>0.18071825642236547</c:v>
                </c:pt>
                <c:pt idx="2">
                  <c:v>0.1659297989545247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79888691919597</c:v>
                </c:pt>
                <c:pt idx="1">
                  <c:v>0.05037788930128662</c:v>
                </c:pt>
                <c:pt idx="2">
                  <c:v>0.04810279294481998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3973878356865527</c:v>
                </c:pt>
                <c:pt idx="1">
                  <c:v>0.0138236164779419</c:v>
                </c:pt>
                <c:pt idx="2">
                  <c:v>0.011148887283283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253742281164334</c:v>
                </c:pt>
                <c:pt idx="1">
                  <c:v>0.021851633501401832</c:v>
                </c:pt>
                <c:pt idx="2">
                  <c:v>0.02245799833836027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653798285229946</c:v>
                </c:pt>
                <c:pt idx="1">
                  <c:v>0.0279072419040436</c:v>
                </c:pt>
                <c:pt idx="2">
                  <c:v>0.0257020751099947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938502750801</c:v>
                </c:pt>
                <c:pt idx="1">
                  <c:v>0.009226754574087045</c:v>
                </c:pt>
                <c:pt idx="2">
                  <c:v>0.0080070466131967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437227816475031</c:v>
                </c:pt>
                <c:pt idx="1">
                  <c:v>0.4516477730040991</c:v>
                </c:pt>
                <c:pt idx="2">
                  <c:v>0.46852219129546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36923161457883</c:v>
                </c:pt>
                <c:pt idx="1">
                  <c:v>0.2417793549705818</c:v>
                </c:pt>
                <c:pt idx="2">
                  <c:v>0.206142258818722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09031426829212</c:v>
                </c:pt>
                <c:pt idx="1">
                  <c:v>0.10553436523916129</c:v>
                </c:pt>
                <c:pt idx="2">
                  <c:v>0.1206115859754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71103294752252</c:v>
                </c:pt>
                <c:pt idx="1">
                  <c:v>0.09100020365580826</c:v>
                </c:pt>
                <c:pt idx="2">
                  <c:v>0.078702497466263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26066224730783</c:v>
                </c:pt>
                <c:pt idx="1">
                  <c:v>0.044029192157834</c:v>
                </c:pt>
                <c:pt idx="2">
                  <c:v>0.045957327634196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0545679850171</c:v>
                </c:pt>
                <c:pt idx="1">
                  <c:v>0.03992399833792989</c:v>
                </c:pt>
                <c:pt idx="2">
                  <c:v>0.0523470489863333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4643712832304</c:v>
                </c:pt>
                <c:pt idx="1">
                  <c:v>0.0354853461067052</c:v>
                </c:pt>
                <c:pt idx="2">
                  <c:v>0.0326120267250353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705130359667875</c:v>
                </c:pt>
                <c:pt idx="1">
                  <c:v>0.04017688961631395</c:v>
                </c:pt>
                <c:pt idx="2">
                  <c:v>0.03951825150962475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32715814817947</c:v>
                </c:pt>
                <c:pt idx="1">
                  <c:v>0.033694219382811</c:v>
                </c:pt>
                <c:pt idx="2">
                  <c:v>0.0330619586039715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338103429266886</c:v>
                </c:pt>
                <c:pt idx="1">
                  <c:v>0.03069122870099672</c:v>
                </c:pt>
                <c:pt idx="2">
                  <c:v>0.037503888123060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06464730583598</c:v>
                </c:pt>
                <c:pt idx="1">
                  <c:v>0.3376852018318579</c:v>
                </c:pt>
                <c:pt idx="2">
                  <c:v>0.35354315615735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678640089041789</c:v>
                </c:pt>
                <c:pt idx="1">
                  <c:v>0.14956355582576975</c:v>
                </c:pt>
                <c:pt idx="2">
                  <c:v>0.123258096172718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899726803602144</c:v>
                </c:pt>
                <c:pt idx="1">
                  <c:v>0.19661701480870283</c:v>
                </c:pt>
                <c:pt idx="2">
                  <c:v>0.220870134118416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358494384296</c:v>
                </c:pt>
                <c:pt idx="1">
                  <c:v>0.08101359273895861</c:v>
                </c:pt>
                <c:pt idx="2">
                  <c:v>0.066470395812888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22159263381564</c:v>
                </c:pt>
                <c:pt idx="1">
                  <c:v>0.060971902549181396</c:v>
                </c:pt>
                <c:pt idx="2">
                  <c:v>0.0618253189401373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749974704037236</c:v>
                </c:pt>
                <c:pt idx="1">
                  <c:v>0.03326529725973857</c:v>
                </c:pt>
                <c:pt idx="2">
                  <c:v>0.0452077199869152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29606394819387</c:v>
                </c:pt>
                <c:pt idx="1">
                  <c:v>0.05232987362661224</c:v>
                </c:pt>
                <c:pt idx="2">
                  <c:v>0.049002289826627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069918041080644</c:v>
                </c:pt>
                <c:pt idx="1">
                  <c:v>0.020736526686064186</c:v>
                </c:pt>
                <c:pt idx="2">
                  <c:v>0.02178606476938174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055853485783666</c:v>
                </c:pt>
                <c:pt idx="1">
                  <c:v>0.048312850132453206</c:v>
                </c:pt>
                <c:pt idx="2">
                  <c:v>0.0463199214916584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8323383587979</c:v>
                </c:pt>
                <c:pt idx="1">
                  <c:v>0.034242411082642116</c:v>
                </c:pt>
                <c:pt idx="2">
                  <c:v>0.03964671246319921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21461094809268</c:v>
                </c:pt>
                <c:pt idx="1">
                  <c:v>0.3229469752898771</c:v>
                </c:pt>
                <c:pt idx="2">
                  <c:v>0.325613346418056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3676584424971</c:v>
                </c:pt>
                <c:pt idx="1">
                  <c:v>0.28967855402612797</c:v>
                </c:pt>
                <c:pt idx="2">
                  <c:v>0.27381787291797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75134040135772</c:v>
                </c:pt>
                <c:pt idx="1">
                  <c:v>0.10724246778775874</c:v>
                </c:pt>
                <c:pt idx="2">
                  <c:v>0.118670899309069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80105606947705</c:v>
                </c:pt>
                <c:pt idx="1">
                  <c:v>0.08958179810186274</c:v>
                </c:pt>
                <c:pt idx="2">
                  <c:v>0.0702531819490625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08511708999257</c:v>
                </c:pt>
                <c:pt idx="1">
                  <c:v>0.043473878807777845</c:v>
                </c:pt>
                <c:pt idx="2">
                  <c:v>0.0495802204813216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334016186032455</c:v>
                </c:pt>
                <c:pt idx="1">
                  <c:v>0.03933810574693752</c:v>
                </c:pt>
                <c:pt idx="2">
                  <c:v>0.046423660104637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2915139514362</c:v>
                </c:pt>
                <c:pt idx="1">
                  <c:v>0.033761072564229694</c:v>
                </c:pt>
                <c:pt idx="2">
                  <c:v>0.03056080918819527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47470665132743</c:v>
                </c:pt>
                <c:pt idx="1">
                  <c:v>0.029070581043359137</c:v>
                </c:pt>
                <c:pt idx="2">
                  <c:v>0.03471977462015539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32929751706776</c:v>
                </c:pt>
                <c:pt idx="1">
                  <c:v>0.025517824449245198</c:v>
                </c:pt>
                <c:pt idx="2">
                  <c:v>0.0396792303823117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15809536843396</c:v>
                </c:pt>
                <c:pt idx="1">
                  <c:v>0.03140497277382876</c:v>
                </c:pt>
                <c:pt idx="2">
                  <c:v>0.02944131748760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74071983223778</c:v>
                </c:pt>
                <c:pt idx="1">
                  <c:v>0.3109307446988724</c:v>
                </c:pt>
                <c:pt idx="2">
                  <c:v>0.30685303355966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47672604876447</c:v>
                </c:pt>
                <c:pt idx="1">
                  <c:v>0.17850031677074849</c:v>
                </c:pt>
                <c:pt idx="2">
                  <c:v>0.16296863045141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793038338395862</c:v>
                </c:pt>
                <c:pt idx="1">
                  <c:v>0.19664675536247625</c:v>
                </c:pt>
                <c:pt idx="2">
                  <c:v>0.21562217430618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640423610541</c:v>
                </c:pt>
                <c:pt idx="1">
                  <c:v>0.08249615349805413</c:v>
                </c:pt>
                <c:pt idx="2">
                  <c:v>0.0586353203032621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850833264920778</c:v>
                </c:pt>
                <c:pt idx="1">
                  <c:v>0.060933116119105804</c:v>
                </c:pt>
                <c:pt idx="2">
                  <c:v>0.069207762398275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01921024546425</c:v>
                </c:pt>
                <c:pt idx="1">
                  <c:v>0.03466377047696624</c:v>
                </c:pt>
                <c:pt idx="2">
                  <c:v>0.0433331014815330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511698546917331</c:v>
                </c:pt>
                <c:pt idx="1">
                  <c:v>0.04991401936826862</c:v>
                </c:pt>
                <c:pt idx="2">
                  <c:v>0.04590665646518745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982595845989656</c:v>
                </c:pt>
                <c:pt idx="1">
                  <c:v>0.017445017648655987</c:v>
                </c:pt>
                <c:pt idx="2">
                  <c:v>0.0203102177088405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0921927592152</c:v>
                </c:pt>
                <c:pt idx="1">
                  <c:v>0.025341659878722056</c:v>
                </c:pt>
                <c:pt idx="2">
                  <c:v>0.0391597690756068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780724078482884</c:v>
                </c:pt>
                <c:pt idx="1">
                  <c:v>0.04389537514707213</c:v>
                </c:pt>
                <c:pt idx="2">
                  <c:v>0.0398553244765945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683605615302525</c:v>
                </c:pt>
                <c:pt idx="1">
                  <c:v>0.3101638157299303</c:v>
                </c:pt>
                <c:pt idx="2">
                  <c:v>0.30500104333310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809124736106237</c:v>
                </c:pt>
                <c:pt idx="1">
                  <c:v>0.2556101283463645</c:v>
                </c:pt>
                <c:pt idx="2">
                  <c:v>0.215654300019896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994997855428</c:v>
                </c:pt>
                <c:pt idx="1">
                  <c:v>0.10088357141144326</c:v>
                </c:pt>
                <c:pt idx="2">
                  <c:v>0.1110782920120364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63191345955672</c:v>
                </c:pt>
                <c:pt idx="1">
                  <c:v>0.08699101899876012</c:v>
                </c:pt>
                <c:pt idx="2">
                  <c:v>0.079272482621261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1324203583941894</c:v>
                </c:pt>
                <c:pt idx="1">
                  <c:v>0.04903158372840617</c:v>
                </c:pt>
                <c:pt idx="2">
                  <c:v>0.0606948213512853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750973412877456</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516295962077283</c:v>
                </c:pt>
                <c:pt idx="1">
                  <c:v>0.037680145456392</c:v>
                </c:pt>
                <c:pt idx="2">
                  <c:v>0.0357502548608162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15293305036124</c:v>
                </c:pt>
                <c:pt idx="1">
                  <c:v>0.03753556360825513</c:v>
                </c:pt>
                <c:pt idx="2">
                  <c:v>0.0369830222698099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954122870050075</c:v>
                </c:pt>
                <c:pt idx="1">
                  <c:v>0.030282491772940203</c:v>
                </c:pt>
                <c:pt idx="2">
                  <c:v>0.031766836710623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190600925786668</c:v>
                </c:pt>
                <c:pt idx="1">
                  <c:v>0.3141544924048687</c:v>
                </c:pt>
                <c:pt idx="2">
                  <c:v>0.325444442393250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724219525227082</c:v>
                </c:pt>
                <c:pt idx="1">
                  <c:v>0.15841820496499046</c:v>
                </c:pt>
                <c:pt idx="2">
                  <c:v>0.127357951297587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692771544157</c:v>
                </c:pt>
                <c:pt idx="1">
                  <c:v>0.17930458306810948</c:v>
                </c:pt>
                <c:pt idx="2">
                  <c:v>0.194466674288327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4639340508358</c:v>
                </c:pt>
                <c:pt idx="1">
                  <c:v>0.0756683640992998</c:v>
                </c:pt>
                <c:pt idx="2">
                  <c:v>0.06322167600320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34585146172048</c:v>
                </c:pt>
                <c:pt idx="1">
                  <c:v>0.064966581795035</c:v>
                </c:pt>
                <c:pt idx="2">
                  <c:v>0.0810563621813193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088695519426</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87054423326463</c:v>
                </c:pt>
                <c:pt idx="1">
                  <c:v>0.05327021005728835</c:v>
                </c:pt>
                <c:pt idx="2">
                  <c:v>0.05247513433177089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38477978780246</c:v>
                </c:pt>
                <c:pt idx="1">
                  <c:v>0.05231540420114577</c:v>
                </c:pt>
                <c:pt idx="2">
                  <c:v>0.0506459357493997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18929852683001</c:v>
                </c:pt>
                <c:pt idx="1">
                  <c:v>0.018141311266709103</c:v>
                </c:pt>
                <c:pt idx="2">
                  <c:v>0.01874928546930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33737882604382</c:v>
                </c:pt>
                <c:pt idx="1">
                  <c:v>0.30621419478039463</c:v>
                </c:pt>
                <c:pt idx="2">
                  <c:v>0.304561563964787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18538965630776</c:v>
                </c:pt>
                <c:pt idx="1">
                  <c:v>0.1906737626523323</c:v>
                </c:pt>
                <c:pt idx="2">
                  <c:v>0.146387471204602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4962583088909</c:v>
                </c:pt>
                <c:pt idx="1">
                  <c:v>0.09250827667224377</c:v>
                </c:pt>
                <c:pt idx="2">
                  <c:v>0.111765685814238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190104293315934</c:v>
                </c:pt>
                <c:pt idx="1">
                  <c:v>0.06254316329073369</c:v>
                </c:pt>
                <c:pt idx="2">
                  <c:v>0.060400922798887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07190743793522</c:v>
                </c:pt>
                <c:pt idx="1">
                  <c:v>0.044153524853749126</c:v>
                </c:pt>
                <c:pt idx="2">
                  <c:v>0.0503871077389576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482201602439939</c:v>
                </c:pt>
                <c:pt idx="1">
                  <c:v>0.03902673454131216</c:v>
                </c:pt>
                <c:pt idx="2">
                  <c:v>0.04313462195366149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963887803490084</c:v>
                </c:pt>
                <c:pt idx="1">
                  <c:v>0.030221423231640027</c:v>
                </c:pt>
                <c:pt idx="2">
                  <c:v>0.03121261225787887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76326306098115</c:v>
                </c:pt>
                <c:pt idx="1">
                  <c:v>0.028523963784367473</c:v>
                </c:pt>
                <c:pt idx="2">
                  <c:v>0.033290760736960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865330424278202</c:v>
                </c:pt>
                <c:pt idx="1">
                  <c:v>0.033802048105561686</c:v>
                </c:pt>
                <c:pt idx="2">
                  <c:v>0.0281854145948283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11974361855377</c:v>
                </c:pt>
                <c:pt idx="1">
                  <c:v>0.030830752435536887</c:v>
                </c:pt>
                <c:pt idx="2">
                  <c:v>0.0262486138665508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673298686285459</c:v>
                </c:pt>
                <c:pt idx="1">
                  <c:v>0.4477163504325229</c:v>
                </c:pt>
                <c:pt idx="2">
                  <c:v>0.46898678903343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4506473207703</c:v>
                </c:pt>
                <c:pt idx="1">
                  <c:v>0.11147864253681498</c:v>
                </c:pt>
                <c:pt idx="2">
                  <c:v>0.08082058537448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60629921259844</c:v>
                </c:pt>
                <c:pt idx="1">
                  <c:v>0.15737412932158645</c:v>
                </c:pt>
                <c:pt idx="2">
                  <c:v>0.191528870810858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683771270164265</c:v>
                </c:pt>
                <c:pt idx="1">
                  <c:v>0.04987118730320282</c:v>
                </c:pt>
                <c:pt idx="2">
                  <c:v>0.04421257405606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128844849449996</c:v>
                </c:pt>
                <c:pt idx="1">
                  <c:v>0.055596196049743966</c:v>
                </c:pt>
                <c:pt idx="2">
                  <c:v>0.06207445397471040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6128756377362942</c:v>
                </c:pt>
                <c:pt idx="1">
                  <c:v>0.03183740975159823</c:v>
                </c:pt>
                <c:pt idx="2">
                  <c:v>0.03537005924484923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378070718688253</c:v>
                </c:pt>
                <c:pt idx="1">
                  <c:v>0.01911516809261792</c:v>
                </c:pt>
                <c:pt idx="2">
                  <c:v>0.018569281103545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03763012769471</c:v>
                </c:pt>
                <c:pt idx="1">
                  <c:v>0.02884768296173786</c:v>
                </c:pt>
                <c:pt idx="2">
                  <c:v>0.031567777876027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73555693178805</c:v>
                </c:pt>
                <c:pt idx="1">
                  <c:v>0.03988422760090328</c:v>
                </c:pt>
                <c:pt idx="2">
                  <c:v>0.03227517906092492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252115957415436</c:v>
                </c:pt>
                <c:pt idx="1">
                  <c:v>0.038993670684774655</c:v>
                </c:pt>
                <c:pt idx="2">
                  <c:v>0.03165620302414006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950603084726769</c:v>
                </c:pt>
                <c:pt idx="1">
                  <c:v>0.46700168569701983</c:v>
                </c:pt>
                <c:pt idx="2">
                  <c:v>0.47192501547440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67363640785739</c:v>
                </c:pt>
                <c:pt idx="1">
                  <c:v>0.2612549381562814</c:v>
                </c:pt>
                <c:pt idx="2">
                  <c:v>0.220421401014133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3622627813787</c:v>
                </c:pt>
                <c:pt idx="1">
                  <c:v>0.07909245564784033</c:v>
                </c:pt>
                <c:pt idx="2">
                  <c:v>0.0716714591855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43670952874135</c:v>
                </c:pt>
                <c:pt idx="1">
                  <c:v>0.07773915647073233</c:v>
                </c:pt>
                <c:pt idx="2">
                  <c:v>0.088146002642289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507302555648464</c:v>
                </c:pt>
                <c:pt idx="1">
                  <c:v>0.05239898199436559</c:v>
                </c:pt>
                <c:pt idx="2">
                  <c:v>0.064121984659379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4335530886591694</c:v>
                </c:pt>
                <c:pt idx="1">
                  <c:v>0.04284145811861968</c:v>
                </c:pt>
                <c:pt idx="2">
                  <c:v>0.051828540076843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138416240331945</c:v>
                </c:pt>
                <c:pt idx="1">
                  <c:v>0.04075318559796696</c:v>
                </c:pt>
                <c:pt idx="2">
                  <c:v>0.044803446375623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442897373210375</c:v>
                </c:pt>
                <c:pt idx="1">
                  <c:v>0.03339503889281371</c:v>
                </c:pt>
                <c:pt idx="2">
                  <c:v>0.0386602780720434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5123360235673</c:v>
                </c:pt>
                <c:pt idx="1">
                  <c:v>0.026232525453233974</c:v>
                </c:pt>
                <c:pt idx="2">
                  <c:v>0.0258283708265623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0148942184493</c:v>
                </c:pt>
                <c:pt idx="1">
                  <c:v>0.029597932315245216</c:v>
                </c:pt>
                <c:pt idx="2">
                  <c:v>0.03173979231032401</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478779353132185</c:v>
                </c:pt>
                <c:pt idx="1">
                  <c:v>0.3566943273529008</c:v>
                </c:pt>
                <c:pt idx="2">
                  <c:v>0.36277872483726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08420686794398</c:v>
                </c:pt>
                <c:pt idx="1">
                  <c:v>0.16658540647759792</c:v>
                </c:pt>
                <c:pt idx="2">
                  <c:v>0.13257581910625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82475868022467</c:v>
                </c:pt>
                <c:pt idx="1">
                  <c:v>0.07326438835304272</c:v>
                </c:pt>
                <c:pt idx="2">
                  <c:v>0.0621497376585825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726885433366594</c:v>
                </c:pt>
                <c:pt idx="1">
                  <c:v>0.1492694153808882</c:v>
                </c:pt>
                <c:pt idx="2">
                  <c:v>0.1671106707168499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078377075462176</c:v>
                </c:pt>
                <c:pt idx="1">
                  <c:v>0.047463016519540296</c:v>
                </c:pt>
                <c:pt idx="2">
                  <c:v>0.061183216646903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642319808962185</c:v>
                </c:pt>
                <c:pt idx="1">
                  <c:v>0.06227155035355753</c:v>
                </c:pt>
                <c:pt idx="2">
                  <c:v>0.0747063887851074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740776035068445</c:v>
                </c:pt>
                <c:pt idx="1">
                  <c:v>0.021174083551625457</c:v>
                </c:pt>
                <c:pt idx="2">
                  <c:v>0.02309091795130033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691334910366944</c:v>
                </c:pt>
                <c:pt idx="1">
                  <c:v>0.04782338779280166</c:v>
                </c:pt>
                <c:pt idx="2">
                  <c:v>0.05410893260343399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519838111147236</c:v>
                </c:pt>
                <c:pt idx="1">
                  <c:v>0.040270732704450134</c:v>
                </c:pt>
                <c:pt idx="2">
                  <c:v>0.0408050551485518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627397782436629</c:v>
                </c:pt>
                <c:pt idx="1">
                  <c:v>0.004545523371136987</c:v>
                </c:pt>
                <c:pt idx="2">
                  <c:v>0.00515748607072659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806271511373703</c:v>
                </c:pt>
                <c:pt idx="1">
                  <c:v>0.38733249549535914</c:v>
                </c:pt>
                <c:pt idx="2">
                  <c:v>0.37911177531229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59965946508192</c:v>
                </c:pt>
                <c:pt idx="1">
                  <c:v>0.24012850761234694</c:v>
                </c:pt>
                <c:pt idx="2">
                  <c:v>0.2023536117847635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632042461808129</c:v>
                </c:pt>
                <c:pt idx="1">
                  <c:v>0.09413580824546497</c:v>
                </c:pt>
                <c:pt idx="2">
                  <c:v>0.103951367946005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68264095334633</c:v>
                </c:pt>
                <c:pt idx="1">
                  <c:v>0.08235566651652831</c:v>
                </c:pt>
                <c:pt idx="2">
                  <c:v>0.084610380330452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08672472228611</c:v>
                </c:pt>
                <c:pt idx="1">
                  <c:v>0.05111378947941919</c:v>
                </c:pt>
                <c:pt idx="2">
                  <c:v>0.060434552578649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70648218343645</c:v>
                </c:pt>
                <c:pt idx="1">
                  <c:v>0.05026557019924315</c:v>
                </c:pt>
                <c:pt idx="2">
                  <c:v>0.060164730045945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3388861914889</c:v>
                </c:pt>
                <c:pt idx="1">
                  <c:v>0.030467063347985338</c:v>
                </c:pt>
                <c:pt idx="2">
                  <c:v>0.031747942908263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6545861005345</c:v>
                </c:pt>
                <c:pt idx="1">
                  <c:v>0.029806620976365064</c:v>
                </c:pt>
                <c:pt idx="2">
                  <c:v>0.035266754148826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951456264735138</c:v>
                </c:pt>
                <c:pt idx="1">
                  <c:v>0.028526909907425776</c:v>
                </c:pt>
                <c:pt idx="2">
                  <c:v>0.03001457041676598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349843314186524</c:v>
                </c:pt>
                <c:pt idx="1">
                  <c:v>0.3561090295531325</c:v>
                </c:pt>
                <c:pt idx="2">
                  <c:v>0.3494936692040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565107945939955</c:v>
                </c:pt>
                <c:pt idx="1">
                  <c:v>0.1488786925209055</c:v>
                </c:pt>
                <c:pt idx="2">
                  <c:v>0.119252132212341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805787021156454</c:v>
                </c:pt>
                <c:pt idx="1">
                  <c:v>0.1672790347438309</c:v>
                </c:pt>
                <c:pt idx="2">
                  <c:v>0.183294381886059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145910403022802</c:v>
                </c:pt>
                <c:pt idx="1">
                  <c:v>0.07202503384139373</c:v>
                </c:pt>
                <c:pt idx="2">
                  <c:v>0.070749992412055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499902371063839</c:v>
                </c:pt>
                <c:pt idx="1">
                  <c:v>0.04489331903497823</c:v>
                </c:pt>
                <c:pt idx="2">
                  <c:v>0.054587671108143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073084493886318</c:v>
                </c:pt>
                <c:pt idx="1">
                  <c:v>0.06745424819366067</c:v>
                </c:pt>
                <c:pt idx="2">
                  <c:v>0.079582359547151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176555334497844</c:v>
                </c:pt>
                <c:pt idx="1">
                  <c:v>0.04292436521749322</c:v>
                </c:pt>
                <c:pt idx="2">
                  <c:v>0.0463926912920751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327927680705883</c:v>
                </c:pt>
                <c:pt idx="1">
                  <c:v>0.018019443418947664</c:v>
                </c:pt>
                <c:pt idx="2">
                  <c:v>0.020563328982911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72951507443547</c:v>
                </c:pt>
                <c:pt idx="1">
                  <c:v>0.03145638122696295</c:v>
                </c:pt>
                <c:pt idx="2">
                  <c:v>0.0313685616292833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441942446422825</c:v>
                </c:pt>
                <c:pt idx="1">
                  <c:v>0.35769327684311075</c:v>
                </c:pt>
                <c:pt idx="2">
                  <c:v>0.33969708926457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001</c:v>
                </c:pt>
                <c:pt idx="1">
                  <c:v>0.008765</c:v>
                </c:pt>
                <c:pt idx="2">
                  <c:v>0.002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34</c:v>
                </c:pt>
                <c:pt idx="1">
                  <c:v>0.002123</c:v>
                </c:pt>
                <c:pt idx="2">
                  <c:v>0.000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86</c:v>
                </c:pt>
                <c:pt idx="1">
                  <c:v>0.005982</c:v>
                </c:pt>
                <c:pt idx="2">
                  <c:v>0.0024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22212</c:v>
                </c:pt>
                <c:pt idx="1">
                  <c:v>1.130517</c:v>
                </c:pt>
                <c:pt idx="2">
                  <c:v>0.3128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339</c:v>
                </c:pt>
                <c:pt idx="1">
                  <c:v>0.108956</c:v>
                </c:pt>
                <c:pt idx="2">
                  <c:v>0.03629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41727</c:v>
                </c:pt>
                <c:pt idx="1">
                  <c:v>0.411964</c:v>
                </c:pt>
                <c:pt idx="2">
                  <c:v>0.1584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717</c:v>
                </c:pt>
                <c:pt idx="1">
                  <c:v>0.006624</c:v>
                </c:pt>
                <c:pt idx="2">
                  <c:v>0.0022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85</c:v>
                </c:pt>
                <c:pt idx="1">
                  <c:v>0.002495</c:v>
                </c:pt>
                <c:pt idx="2">
                  <c:v>0.0007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52</c:v>
                </c:pt>
                <c:pt idx="1">
                  <c:v>0.005981</c:v>
                </c:pt>
                <c:pt idx="2">
                  <c:v>0.0024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930166520746056</c:v>
                </c:pt>
                <c:pt idx="1">
                  <c:v>0.23127428871198585</c:v>
                </c:pt>
                <c:pt idx="2">
                  <c:v>0.233555880719977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812787464151</c:v>
                </c:pt>
                <c:pt idx="1">
                  <c:v>0.06910032883286822</c:v>
                </c:pt>
                <c:pt idx="2">
                  <c:v>0.0694382031149734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87412581267225</c:v>
                </c:pt>
                <c:pt idx="1">
                  <c:v>0.062361677053306246</c:v>
                </c:pt>
                <c:pt idx="2">
                  <c:v>0.0594547345448283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76574582470504</c:v>
                </c:pt>
                <c:pt idx="1">
                  <c:v>0.058537942834288835</c:v>
                </c:pt>
                <c:pt idx="2">
                  <c:v>0.057117289873809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109515133446775</c:v>
                </c:pt>
                <c:pt idx="1">
                  <c:v>0.04450901647569582</c:v>
                </c:pt>
                <c:pt idx="2">
                  <c:v>0.0461280449643735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82301665065586</c:v>
                </c:pt>
                <c:pt idx="1">
                  <c:v>0.03645821832019018</c:v>
                </c:pt>
                <c:pt idx="2">
                  <c:v>0.0371930288973128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873966254037194</c:v>
                </c:pt>
                <c:pt idx="1">
                  <c:v>0.03503864699318068</c:v>
                </c:pt>
                <c:pt idx="2">
                  <c:v>0.034072161425157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710796598175515</c:v>
                </c:pt>
                <c:pt idx="1">
                  <c:v>0.028795042794083753</c:v>
                </c:pt>
                <c:pt idx="2">
                  <c:v>0.03004947019349582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33191239716013</c:v>
                </c:pt>
                <c:pt idx="1">
                  <c:v>0.02869366131550287</c:v>
                </c:pt>
                <c:pt idx="2">
                  <c:v>0.02749092851896180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499984940448924</c:v>
                </c:pt>
                <c:pt idx="1">
                  <c:v>0.4052311766688975</c:v>
                </c:pt>
                <c:pt idx="2">
                  <c:v>0.405500257747110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2212</c:v>
                </c:pt>
                <c:pt idx="1">
                  <c:v>0.855701</c:v>
                </c:pt>
                <c:pt idx="2">
                  <c:v>0.2943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8455</c:v>
                </c:pt>
                <c:pt idx="1">
                  <c:v>0.130361</c:v>
                </c:pt>
                <c:pt idx="2">
                  <c:v>0.0420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0302</c:v>
                </c:pt>
                <c:pt idx="1">
                  <c:v>0.398065</c:v>
                </c:pt>
                <c:pt idx="2">
                  <c:v>0.1610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3205008210873</c:v>
                </c:pt>
                <c:pt idx="1">
                  <c:v>0.20649940227917882</c:v>
                </c:pt>
                <c:pt idx="2">
                  <c:v>0.20670401893005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0371614934057</c:v>
                </c:pt>
                <c:pt idx="1">
                  <c:v>0.16852833116966812</c:v>
                </c:pt>
                <c:pt idx="2">
                  <c:v>0.18069276459116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84987616012511</c:v>
                </c:pt>
                <c:pt idx="1">
                  <c:v>0.04910687354583759</c:v>
                </c:pt>
                <c:pt idx="2">
                  <c:v>0.0459250203448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92290553847559</c:v>
                </c:pt>
                <c:pt idx="1">
                  <c:v>0.04627927093562022</c:v>
                </c:pt>
                <c:pt idx="2">
                  <c:v>0.0432129151787415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89805645541223</c:v>
                </c:pt>
                <c:pt idx="1">
                  <c:v>0.023555701423944177</c:v>
                </c:pt>
                <c:pt idx="2">
                  <c:v>0.02479155901403235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40456453400372</c:v>
                </c:pt>
                <c:pt idx="1">
                  <c:v>0.023493125656906033</c:v>
                </c:pt>
                <c:pt idx="2">
                  <c:v>0.0235956186203657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74482356381364</c:v>
                </c:pt>
                <c:pt idx="1">
                  <c:v>0.07824471607264423</c:v>
                </c:pt>
                <c:pt idx="2">
                  <c:v>0.07650404966771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5153162730357</c:v>
                </c:pt>
                <c:pt idx="1">
                  <c:v>0.020222159918112912</c:v>
                </c:pt>
                <c:pt idx="2">
                  <c:v>0.02065209154891728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5924280846744</c:v>
                </c:pt>
                <c:pt idx="1">
                  <c:v>0.01675144602375027</c:v>
                </c:pt>
                <c:pt idx="2">
                  <c:v>0.01616251736719964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21195878077767</c:v>
                </c:pt>
                <c:pt idx="1">
                  <c:v>0.3673189729743377</c:v>
                </c:pt>
                <c:pt idx="2">
                  <c:v>0.361759444736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24565422449805</c:v>
                </c:pt>
                <c:pt idx="1">
                  <c:v>0.13440143894477383</c:v>
                </c:pt>
                <c:pt idx="2">
                  <c:v>0.14260424862313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6195930467592</c:v>
                </c:pt>
                <c:pt idx="1">
                  <c:v>0.07621077876224103</c:v>
                </c:pt>
                <c:pt idx="2">
                  <c:v>0.07509834775767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5%</a:t>
                    </a:r>
                  </a:p>
                </c:rich>
              </c:tx>
              <c:showLegendKey val="0"/>
              <c:showVal val="1"/>
              <c:showCatName val="0"/>
              <c:showSerName val="0"/>
              <c:showPercent val="0"/>
              <c:showBubbleSize val="0"/>
            </c:dLbl>
            <c:dLbl>
              <c:idx val="1"/>
              <c:tx>
                <c:rich>
                  <a:bodyPr/>
                  <a:lstStyle/>
                  <a:p>
                    <a:r>
                      <a:rPr sz="800">
                        <a:solidFill>
                          <a:srgbClr val="FFFFFF"/>
                        </a:solidFill>
                        <a:latin typeface="Nexa Book"/>
                      </a:rPr>
                      <a:t>79%</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501347527287427</c:v>
                </c:pt>
                <c:pt idx="1">
                  <c:v>0.7893877822929851</c:v>
                </c:pt>
                <c:pt idx="2">
                  <c:v>0.7822974036191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87248707639288</c:v>
                </c:pt>
                <c:pt idx="1">
                  <c:v>0.1409282700421941</c:v>
                </c:pt>
                <c:pt idx="2">
                  <c:v>0.140399174122505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13670304422746</c:v>
                </c:pt>
                <c:pt idx="1">
                  <c:v>0.05485232067510549</c:v>
                </c:pt>
                <c:pt idx="2">
                  <c:v>0.054370268410185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759908098793796</c:v>
                </c:pt>
                <c:pt idx="1">
                  <c:v>0.8042194092827004</c:v>
                </c:pt>
                <c:pt idx="2">
                  <c:v>0.80523055746730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074454700775435</c:v>
                </c:pt>
                <c:pt idx="1">
                  <c:v>0.6611859904880464</c:v>
                </c:pt>
                <c:pt idx="2">
                  <c:v>0.62800965933795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86362413571952</c:v>
                </c:pt>
                <c:pt idx="1">
                  <c:v>0.07267227031037128</c:v>
                </c:pt>
                <c:pt idx="2">
                  <c:v>0.073487190452884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16909057867369</c:v>
                </c:pt>
                <c:pt idx="1">
                  <c:v>0.26614173920158235</c:v>
                </c:pt>
                <c:pt idx="2">
                  <c:v>0.2985031502091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61877127628122</c:v>
                </c:pt>
                <c:pt idx="1">
                  <c:v>0.4978904316004736</c:v>
                </c:pt>
                <c:pt idx="2">
                  <c:v>0.4578454676174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62561347490771</c:v>
                </c:pt>
                <c:pt idx="1">
                  <c:v>0.13478635238402756</c:v>
                </c:pt>
                <c:pt idx="2">
                  <c:v>0.127945535111658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718667376228</c:v>
                </c:pt>
                <c:pt idx="1">
                  <c:v>0.36732321601549883</c:v>
                </c:pt>
                <c:pt idx="2">
                  <c:v>0.41420899727088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430790972124</c:v>
                </c:pt>
                <c:pt idx="1">
                  <c:v>0.7062566438111167</c:v>
                </c:pt>
                <c:pt idx="2">
                  <c:v>0.68811997946697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26732395064585</c:v>
                </c:pt>
                <c:pt idx="1">
                  <c:v>0.08449164454162111</c:v>
                </c:pt>
                <c:pt idx="2">
                  <c:v>0.071615865924887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58959695214172</c:v>
                </c:pt>
                <c:pt idx="1">
                  <c:v>0.20925171164726208</c:v>
                </c:pt>
                <c:pt idx="2">
                  <c:v>0.24026415460813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54985275557425</c:v>
                </c:pt>
                <c:pt idx="1">
                  <c:v>0.5449026056159879</c:v>
                </c:pt>
                <c:pt idx="2">
                  <c:v>0.53653444676409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0525872949096</c:v>
                </c:pt>
                <c:pt idx="1">
                  <c:v>0.1555780419934227</c:v>
                </c:pt>
                <c:pt idx="2">
                  <c:v>0.129436325678496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99621371476655</c:v>
                </c:pt>
                <c:pt idx="1">
                  <c:v>0.2995193523905894</c:v>
                </c:pt>
                <c:pt idx="2">
                  <c:v>0.334029227557411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731793045271346</c:v>
                </c:pt>
                <c:pt idx="1">
                  <c:v>0.3520212905523174</c:v>
                </c:pt>
                <c:pt idx="2">
                  <c:v>0.27513983840894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8987252788453</c:v>
                </c:pt>
                <c:pt idx="1">
                  <c:v>0.06251475907566018</c:v>
                </c:pt>
                <c:pt idx="2">
                  <c:v>0.04352599958566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549219701940195</c:v>
                </c:pt>
                <c:pt idx="1">
                  <c:v>0.5854639503720225</c:v>
                </c:pt>
                <c:pt idx="2">
                  <c:v>0.68133416200538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91619202603744</c:v>
                </c:pt>
                <c:pt idx="1">
                  <c:v>0.17331701346389228</c:v>
                </c:pt>
                <c:pt idx="2">
                  <c:v>0.130295250320924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3978844589097</c:v>
                </c:pt>
                <c:pt idx="1">
                  <c:v>0.07392900856793146</c:v>
                </c:pt>
                <c:pt idx="2">
                  <c:v>0.048138639281129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71440195280717</c:v>
                </c:pt>
                <c:pt idx="1">
                  <c:v>0.7527539779681762</c:v>
                </c:pt>
                <c:pt idx="2">
                  <c:v>0.82156611039794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9292603479059</c:v>
                </c:pt>
                <c:pt idx="1">
                  <c:v>0.6147645311837081</c:v>
                </c:pt>
                <c:pt idx="2">
                  <c:v>0.62496213268706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10410826969294</c:v>
                </c:pt>
                <c:pt idx="1">
                  <c:v>0.09402312261349173</c:v>
                </c:pt>
                <c:pt idx="2">
                  <c:v>0.072735534686458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849666313824012</c:v>
                </c:pt>
                <c:pt idx="1">
                  <c:v>0.2912123462028001</c:v>
                </c:pt>
                <c:pt idx="2">
                  <c:v>0.302302332626476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35015493581231</c:v>
                </c:pt>
                <c:pt idx="1">
                  <c:v>0.43446244477172313</c:v>
                </c:pt>
                <c:pt idx="2">
                  <c:v>0.450502152080344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322266489597167</c:v>
                </c:pt>
                <c:pt idx="1">
                  <c:v>0.16003927344133528</c:v>
                </c:pt>
                <c:pt idx="2">
                  <c:v>0.12195121951219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32757857459053</c:v>
                </c:pt>
                <c:pt idx="1">
                  <c:v>0.40549828178694153</c:v>
                </c:pt>
                <c:pt idx="2">
                  <c:v>0.427546628407460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4878120165573</c:v>
                </c:pt>
                <c:pt idx="1">
                  <c:v>0.5944184333443082</c:v>
                </c:pt>
                <c:pt idx="2">
                  <c:v>0.5559885570832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22239411297403</c:v>
                </c:pt>
                <c:pt idx="1">
                  <c:v>0.12729565785141492</c:v>
                </c:pt>
                <c:pt idx="2">
                  <c:v>0.141430948419301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728979387046874</c:v>
                </c:pt>
                <c:pt idx="1">
                  <c:v>0.2782859088042769</c:v>
                </c:pt>
                <c:pt idx="2">
                  <c:v>0.3025804944974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233791748526523</c:v>
                </c:pt>
                <c:pt idx="1">
                  <c:v>0.4133817427385892</c:v>
                </c:pt>
                <c:pt idx="2">
                  <c:v>0.3604505632040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557956777996</c:v>
                </c:pt>
                <c:pt idx="1">
                  <c:v>0.21991701244813278</c:v>
                </c:pt>
                <c:pt idx="2">
                  <c:v>0.22277847309136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520628683693517</c:v>
                </c:pt>
                <c:pt idx="1">
                  <c:v>0.366701244813278</c:v>
                </c:pt>
                <c:pt idx="2">
                  <c:v>0.41677096370463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237</c:v>
                </c:pt>
                <c:pt idx="1">
                  <c:v>0.081244</c:v>
                </c:pt>
                <c:pt idx="2">
                  <c:v>0.03566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2181</c:v>
                </c:pt>
                <c:pt idx="1">
                  <c:v>0.61805</c:v>
                </c:pt>
                <c:pt idx="2">
                  <c:v>0.2473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68051687768684</c:v>
                </c:pt>
                <c:pt idx="1">
                  <c:v>0.6568093734939385</c:v>
                </c:pt>
                <c:pt idx="2">
                  <c:v>0.60933366007844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75216635331703</c:v>
                </c:pt>
                <c:pt idx="1">
                  <c:v>0.07424401849863141</c:v>
                </c:pt>
                <c:pt idx="2">
                  <c:v>0.08055245359656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426648698146</c:v>
                </c:pt>
                <c:pt idx="1">
                  <c:v>0.26894660800743003</c:v>
                </c:pt>
                <c:pt idx="2">
                  <c:v>0.3101138863249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1376532131811</c:v>
                </c:pt>
                <c:pt idx="1">
                  <c:v>0.4880934625901069</c:v>
                </c:pt>
                <c:pt idx="2">
                  <c:v>0.429621708327763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37935774561839</c:v>
                </c:pt>
                <c:pt idx="1">
                  <c:v>0.13392990305741984</c:v>
                </c:pt>
                <c:pt idx="2">
                  <c:v>0.135008688677984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324411012257063</c:v>
                </c:pt>
                <c:pt idx="1">
                  <c:v>0.37797663435247325</c:v>
                </c:pt>
                <c:pt idx="2">
                  <c:v>0.43536960299425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6100276038594</c:v>
                </c:pt>
                <c:pt idx="1">
                  <c:v>0.6845656237567646</c:v>
                </c:pt>
                <c:pt idx="2">
                  <c:v>0.61638008318703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467904432803</c:v>
                </c:pt>
                <c:pt idx="1">
                  <c:v>0.06898234688940602</c:v>
                </c:pt>
                <c:pt idx="2">
                  <c:v>0.074265414329371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2431819528603</c:v>
                </c:pt>
                <c:pt idx="1">
                  <c:v>0.2464520293538294</c:v>
                </c:pt>
                <c:pt idx="2">
                  <c:v>0.309354502483592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56843331392</c:v>
                </c:pt>
                <c:pt idx="1">
                  <c:v>0.519561351511559</c:v>
                </c:pt>
                <c:pt idx="2">
                  <c:v>0.43911304980007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59674745755119</c:v>
                </c:pt>
                <c:pt idx="1">
                  <c:v>0.12815649081209246</c:v>
                </c:pt>
                <c:pt idx="2">
                  <c:v>0.125954198473282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14640921105683</c:v>
                </c:pt>
                <c:pt idx="1">
                  <c:v>0.3522821576763485</c:v>
                </c:pt>
                <c:pt idx="2">
                  <c:v>0.434932751726644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64</c:v>
                </c:pt>
                <c:pt idx="1">
                  <c:v>0.018205</c:v>
                </c:pt>
                <c:pt idx="2">
                  <c:v>0.005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76</c:v>
                </c:pt>
                <c:pt idx="1">
                  <c:v>0.011156</c:v>
                </c:pt>
                <c:pt idx="2">
                  <c:v>0.0037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022</c:v>
                </c:pt>
                <c:pt idx="1">
                  <c:v>0.017878</c:v>
                </c:pt>
                <c:pt idx="2">
                  <c:v>0.0076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814</c:v>
                </c:pt>
                <c:pt idx="1">
                  <c:v>0.009439</c:v>
                </c:pt>
                <c:pt idx="2">
                  <c:v>0.0029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331</c:v>
                </c:pt>
                <c:pt idx="1">
                  <c:v>0.006546</c:v>
                </c:pt>
                <c:pt idx="2">
                  <c:v>0.00282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849</c:v>
                </c:pt>
                <c:pt idx="1">
                  <c:v>0.006014</c:v>
                </c:pt>
                <c:pt idx="2">
                  <c:v>0.00293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417</c:v>
                </c:pt>
                <c:pt idx="1">
                  <c:v>0.003874</c:v>
                </c:pt>
                <c:pt idx="2">
                  <c:v>0.0015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337</c:v>
                </c:pt>
                <c:pt idx="1">
                  <c:v>0.004021</c:v>
                </c:pt>
                <c:pt idx="2">
                  <c:v>0.0016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014</c:v>
                </c:pt>
                <c:pt idx="1">
                  <c:v>0.00475</c:v>
                </c:pt>
                <c:pt idx="2">
                  <c:v>0.001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0196</c:v>
                </c:pt>
                <c:pt idx="1">
                  <c:v>0.017063</c:v>
                </c:pt>
                <c:pt idx="2">
                  <c:v>0.0065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09138406229978</c:v>
                </c:pt>
                <c:pt idx="1">
                  <c:v>0.21412680428086242</c:v>
                </c:pt>
                <c:pt idx="2">
                  <c:v>0.175340549828178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46981169577785</c:v>
                </c:pt>
                <c:pt idx="1">
                  <c:v>0.11829619240847529</c:v>
                </c:pt>
                <c:pt idx="2">
                  <c:v>0.150322680412371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66513108831273</c:v>
                </c:pt>
                <c:pt idx="1">
                  <c:v>0.09025655057530614</c:v>
                </c:pt>
                <c:pt idx="2">
                  <c:v>0.086168041237113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2982923234983</c:v>
                </c:pt>
                <c:pt idx="1">
                  <c:v>0.04161031318242695</c:v>
                </c:pt>
                <c:pt idx="2">
                  <c:v>0.045172164948453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715250047795</c:v>
                </c:pt>
                <c:pt idx="1">
                  <c:v>0.053022682255704244</c:v>
                </c:pt>
                <c:pt idx="2">
                  <c:v>0.051904123711340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49029179057715</c:v>
                </c:pt>
                <c:pt idx="1">
                  <c:v>0.04839414416838809</c:v>
                </c:pt>
                <c:pt idx="2">
                  <c:v>0.0452556701030927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93084156589998</c:v>
                </c:pt>
                <c:pt idx="1">
                  <c:v>0.04389061098577826</c:v>
                </c:pt>
                <c:pt idx="2">
                  <c:v>0.054906185567010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9372902367654</c:v>
                </c:pt>
                <c:pt idx="1">
                  <c:v>0.03749950374210284</c:v>
                </c:pt>
                <c:pt idx="2">
                  <c:v>0.04236804123711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88948764289084</c:v>
                </c:pt>
                <c:pt idx="1">
                  <c:v>0.03766282033519602</c:v>
                </c:pt>
                <c:pt idx="2">
                  <c:v>0.038443642611683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74995058022873</c:v>
                </c:pt>
                <c:pt idx="1">
                  <c:v>0.3152403780657598</c:v>
                </c:pt>
                <c:pt idx="2">
                  <c:v>0.31011890034364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91244</c:v>
                </c:pt>
                <c:pt idx="1">
                  <c:v>1.365057</c:v>
                </c:pt>
                <c:pt idx="2">
                  <c:v>0.41063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55227</c:v>
                </c:pt>
                <c:pt idx="1">
                  <c:v>0.741854</c:v>
                </c:pt>
                <c:pt idx="2">
                  <c:v>0.26323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04848</c:v>
                </c:pt>
                <c:pt idx="1">
                  <c:v>0.531312</c:v>
                </c:pt>
                <c:pt idx="2">
                  <c:v>0.2319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6671</c:v>
                </c:pt>
                <c:pt idx="1">
                  <c:v>0.435197</c:v>
                </c:pt>
                <c:pt idx="2">
                  <c:v>0.1285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83811</c:v>
                </c:pt>
                <c:pt idx="1">
                  <c:v>0.404958</c:v>
                </c:pt>
                <c:pt idx="2">
                  <c:v>0.1791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25594</c:v>
                </c:pt>
                <c:pt idx="1">
                  <c:v>0.367537</c:v>
                </c:pt>
                <c:pt idx="2">
                  <c:v>0.16946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2087</c:v>
                </c:pt>
                <c:pt idx="1">
                  <c:v>0.239198</c:v>
                </c:pt>
                <c:pt idx="2">
                  <c:v>0.0961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25182</c:v>
                </c:pt>
                <c:pt idx="1">
                  <c:v>0.208247</c:v>
                </c:pt>
                <c:pt idx="2">
                  <c:v>0.0848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9667</c:v>
                </c:pt>
                <c:pt idx="1">
                  <c:v>0.200683</c:v>
                </c:pt>
                <c:pt idx="2">
                  <c:v>0.06014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98627</c:v>
                </c:pt>
                <c:pt idx="1">
                  <c:v>0.871153</c:v>
                </c:pt>
                <c:pt idx="2">
                  <c:v>0.35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417556591812158</c:v>
                </c:pt>
                <c:pt idx="1">
                  <c:v>0.14342150969390458</c:v>
                </c:pt>
                <c:pt idx="2">
                  <c:v>0.112688660574457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116806985713452</c:v>
                </c:pt>
                <c:pt idx="1">
                  <c:v>0.20514692462128126</c:v>
                </c:pt>
                <c:pt idx="2">
                  <c:v>0.252929939594196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59986525127454</c:v>
                </c:pt>
                <c:pt idx="1">
                  <c:v>0.07429540356434244</c:v>
                </c:pt>
                <c:pt idx="2">
                  <c:v>0.066429173765639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1564623685</c:v>
                </c:pt>
                <c:pt idx="1">
                  <c:v>0.05312365689524225</c:v>
                </c:pt>
                <c:pt idx="2">
                  <c:v>0.0594764830399091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9419731669664</c:v>
                </c:pt>
                <c:pt idx="1">
                  <c:v>0.06604101289969326</c:v>
                </c:pt>
                <c:pt idx="2">
                  <c:v>0.0620579276162940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740624618698243</c:v>
                </c:pt>
                <c:pt idx="1">
                  <c:v>0.06200801888736466</c:v>
                </c:pt>
                <c:pt idx="2">
                  <c:v>0.0557592028499148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13282829086626</c:v>
                </c:pt>
                <c:pt idx="1">
                  <c:v>0.03789836855088932</c:v>
                </c:pt>
                <c:pt idx="2">
                  <c:v>0.048032078751269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79328272298527</c:v>
                </c:pt>
                <c:pt idx="1">
                  <c:v>0.03129250098617007</c:v>
                </c:pt>
                <c:pt idx="2">
                  <c:v>0.0351420654998537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435227773091637</c:v>
                </c:pt>
                <c:pt idx="1">
                  <c:v>0.039134760875836776</c:v>
                </c:pt>
                <c:pt idx="2">
                  <c:v>0.0375514137711463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841537620889236</c:v>
                </c:pt>
                <c:pt idx="1">
                  <c:v>0.2876378430252754</c:v>
                </c:pt>
                <c:pt idx="2">
                  <c:v>0.26993305453731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46073008762542</c:v>
                </c:pt>
                <c:pt idx="1">
                  <c:v>0.19786900609036465</c:v>
                </c:pt>
                <c:pt idx="2">
                  <c:v>0.1577000245122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51143192821872</c:v>
                </c:pt>
                <c:pt idx="1">
                  <c:v>0.10293472969114269</c:v>
                </c:pt>
                <c:pt idx="2">
                  <c:v>0.09659895031074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567412409989786</c:v>
                </c:pt>
                <c:pt idx="1">
                  <c:v>0.0368167351202081</c:v>
                </c:pt>
                <c:pt idx="2">
                  <c:v>0.0354645878663345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23765964450239</c:v>
                </c:pt>
                <c:pt idx="1">
                  <c:v>0.03853708233585502</c:v>
                </c:pt>
                <c:pt idx="2">
                  <c:v>0.0428293594232458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9880699597822</c:v>
                </c:pt>
                <c:pt idx="1">
                  <c:v>0.03533682646449449</c:v>
                </c:pt>
                <c:pt idx="2">
                  <c:v>0.036168180272983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33579688567687</c:v>
                </c:pt>
                <c:pt idx="1">
                  <c:v>0.03694161406218897</c:v>
                </c:pt>
                <c:pt idx="2">
                  <c:v>0.04750484444807588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94367112826083</c:v>
                </c:pt>
                <c:pt idx="1">
                  <c:v>0.3394474311842476</c:v>
                </c:pt>
                <c:pt idx="2">
                  <c:v>0.33276238953094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79692082111438</c:v>
                </c:pt>
                <c:pt idx="1">
                  <c:v>0.13926788349200575</c:v>
                </c:pt>
                <c:pt idx="2">
                  <c:v>0.108286149825783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8651026392962</c:v>
                </c:pt>
                <c:pt idx="1">
                  <c:v>0.08909910456208436</c:v>
                </c:pt>
                <c:pt idx="2">
                  <c:v>0.079050522648083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500733137829912</c:v>
                </c:pt>
                <c:pt idx="1">
                  <c:v>0.04975441149718028</c:v>
                </c:pt>
                <c:pt idx="2">
                  <c:v>0.05025043554006968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05608504398827</c:v>
                </c:pt>
                <c:pt idx="1">
                  <c:v>0.04150748893335759</c:v>
                </c:pt>
                <c:pt idx="2">
                  <c:v>0.04488784843205574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4486803519062</c:v>
                </c:pt>
                <c:pt idx="1">
                  <c:v>0.02364926323449154</c:v>
                </c:pt>
                <c:pt idx="2">
                  <c:v>0.02433580139372822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291055718475073</c:v>
                </c:pt>
                <c:pt idx="1">
                  <c:v>0.02464980898672003</c:v>
                </c:pt>
                <c:pt idx="2">
                  <c:v>0.031984973867595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761546920821113</c:v>
                </c:pt>
                <c:pt idx="1">
                  <c:v>0.35145432862369375</c:v>
                </c:pt>
                <c:pt idx="2">
                  <c:v>0.32951328397212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987</c:v>
                </c:pt>
                <c:pt idx="1">
                  <c:v>0.013885</c:v>
                </c:pt>
                <c:pt idx="2">
                  <c:v>0.0040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868</c:v>
                </c:pt>
                <c:pt idx="1">
                  <c:v>0.008192</c:v>
                </c:pt>
                <c:pt idx="2">
                  <c:v>0.0029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38</c:v>
                </c:pt>
                <c:pt idx="1">
                  <c:v>0.004385</c:v>
                </c:pt>
                <c:pt idx="2">
                  <c:v>0.0018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059</c:v>
                </c:pt>
                <c:pt idx="1">
                  <c:v>0.004311</c:v>
                </c:pt>
                <c:pt idx="2">
                  <c:v>0.0023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505</c:v>
                </c:pt>
                <c:pt idx="1">
                  <c:v>0.005838</c:v>
                </c:pt>
                <c:pt idx="2">
                  <c:v>0.0017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9467</c:v>
                </c:pt>
                <c:pt idx="1">
                  <c:v>0.009647</c:v>
                </c:pt>
                <c:pt idx="2">
                  <c:v>0.0043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2</c:v>
                </c:pt>
                <c:pt idx="1">
                  <c:v>0.002593</c:v>
                </c:pt>
                <c:pt idx="2">
                  <c:v>0.00100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8</c:v>
                </c:pt>
                <c:pt idx="1">
                  <c:v>0.002416</c:v>
                </c:pt>
                <c:pt idx="2">
                  <c:v>0.00112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96</c:v>
                </c:pt>
                <c:pt idx="1">
                  <c:v>0.002315</c:v>
                </c:pt>
                <c:pt idx="2">
                  <c:v>0.0007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201</c:v>
                </c:pt>
                <c:pt idx="1">
                  <c:v>0.008858</c:v>
                </c:pt>
                <c:pt idx="2">
                  <c:v>0.003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82418382771754</c:v>
                </c:pt>
                <c:pt idx="1">
                  <c:v>0.22327650911431415</c:v>
                </c:pt>
                <c:pt idx="2">
                  <c:v>0.18249370045430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23843528980898</c:v>
                </c:pt>
                <c:pt idx="1">
                  <c:v>0.12039001259780613</c:v>
                </c:pt>
                <c:pt idx="2">
                  <c:v>0.1392828020869735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836439769717354</c:v>
                </c:pt>
                <c:pt idx="1">
                  <c:v>0.11185364954471712</c:v>
                </c:pt>
                <c:pt idx="2">
                  <c:v>0.096844402754020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0951145343873</c:v>
                </c:pt>
                <c:pt idx="1">
                  <c:v>0.05440989411528673</c:v>
                </c:pt>
                <c:pt idx="2">
                  <c:v>0.053428117738662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44424651323482</c:v>
                </c:pt>
                <c:pt idx="1">
                  <c:v>0.052275294144006064</c:v>
                </c:pt>
                <c:pt idx="2">
                  <c:v>0.0671583684329918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504115228472214</c:v>
                </c:pt>
                <c:pt idx="1">
                  <c:v>0.05147074549070848</c:v>
                </c:pt>
                <c:pt idx="2">
                  <c:v>0.05067225808824881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80117216314834</c:v>
                </c:pt>
                <c:pt idx="1">
                  <c:v>0.04982396679149052</c:v>
                </c:pt>
                <c:pt idx="2">
                  <c:v>0.043097475890059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765897294106295</c:v>
                </c:pt>
                <c:pt idx="1">
                  <c:v>0.03339080594388324</c:v>
                </c:pt>
                <c:pt idx="2">
                  <c:v>0.0449061045816549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590999305915074</c:v>
                </c:pt>
                <c:pt idx="1">
                  <c:v>0.030886520958492418</c:v>
                </c:pt>
                <c:pt idx="2">
                  <c:v>0.0395170041751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395378369657804</c:v>
                </c:pt>
                <c:pt idx="1">
                  <c:v>0.27222260129929515</c:v>
                </c:pt>
                <c:pt idx="2">
                  <c:v>0.28259976579791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84246898068164</c:v>
                </c:pt>
                <c:pt idx="1">
                  <c:v>0.15203562340966922</c:v>
                </c:pt>
                <c:pt idx="2">
                  <c:v>0.120069697449706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585466729490604</c:v>
                </c:pt>
                <c:pt idx="1">
                  <c:v>0.2102947413061917</c:v>
                </c:pt>
                <c:pt idx="2">
                  <c:v>0.240139394899413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68645620648134</c:v>
                </c:pt>
                <c:pt idx="1">
                  <c:v>0.09276929601357083</c:v>
                </c:pt>
                <c:pt idx="2">
                  <c:v>0.076033581498495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51143919166536</c:v>
                </c:pt>
                <c:pt idx="1">
                  <c:v>0.07098176420695505</c:v>
                </c:pt>
                <c:pt idx="2">
                  <c:v>0.07270711230793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510863305586094</c:v>
                </c:pt>
                <c:pt idx="1">
                  <c:v>0.04564249363867685</c:v>
                </c:pt>
                <c:pt idx="2">
                  <c:v>0.060668461904007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05874038008481</c:v>
                </c:pt>
                <c:pt idx="1">
                  <c:v>0.06689991518235792</c:v>
                </c:pt>
                <c:pt idx="2">
                  <c:v>0.065103754158086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50028794303963</c:v>
                </c:pt>
                <c:pt idx="1">
                  <c:v>0.06170483460559797</c:v>
                </c:pt>
                <c:pt idx="2">
                  <c:v>0.053698716933312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14491387885451</c:v>
                </c:pt>
                <c:pt idx="1">
                  <c:v>0.027989821882951654</c:v>
                </c:pt>
                <c:pt idx="2">
                  <c:v>0.0376999841596705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75781372703</c:v>
                </c:pt>
                <c:pt idx="1">
                  <c:v>0.020038167938931296</c:v>
                </c:pt>
                <c:pt idx="2">
                  <c:v>0.0256613337557421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21323490916706</c:v>
                </c:pt>
                <c:pt idx="1">
                  <c:v>0.2516433418150975</c:v>
                </c:pt>
                <c:pt idx="2">
                  <c:v>0.248217962933629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06714837265216</c:v>
                </c:pt>
                <c:pt idx="1">
                  <c:v>0.24542237654730034</c:v>
                </c:pt>
                <c:pt idx="2">
                  <c:v>0.1954041701091977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93516050858994</c:v>
                </c:pt>
                <c:pt idx="1">
                  <c:v>0.1100789885228086</c:v>
                </c:pt>
                <c:pt idx="2">
                  <c:v>0.0937196022808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61535819462025</c:v>
                </c:pt>
                <c:pt idx="1">
                  <c:v>0.08567471572083654</c:v>
                </c:pt>
                <c:pt idx="2">
                  <c:v>0.106470873134419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323796742124043</c:v>
                </c:pt>
                <c:pt idx="1">
                  <c:v>0.04265512762742863</c:v>
                </c:pt>
                <c:pt idx="2">
                  <c:v>0.0453518707697567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63764557718851</c:v>
                </c:pt>
                <c:pt idx="1">
                  <c:v>0.04944867071328227</c:v>
                </c:pt>
                <c:pt idx="2">
                  <c:v>0.0605776940264793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4411362494355</c:v>
                </c:pt>
                <c:pt idx="1">
                  <c:v>0.05273279083945185</c:v>
                </c:pt>
                <c:pt idx="2">
                  <c:v>0.0402643863883337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9874061023159</c:v>
                </c:pt>
                <c:pt idx="1">
                  <c:v>0.04523683303734726</c:v>
                </c:pt>
                <c:pt idx="2">
                  <c:v>0.053866284630506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669690050184775</c:v>
                </c:pt>
                <c:pt idx="1">
                  <c:v>0.03503989185463991</c:v>
                </c:pt>
                <c:pt idx="2">
                  <c:v>0.03965795825006817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9258677386321</c:v>
                </c:pt>
                <c:pt idx="1">
                  <c:v>0.03468603387494367</c:v>
                </c:pt>
                <c:pt idx="2">
                  <c:v>0.03319481809190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17639725478473</c:v>
                </c:pt>
                <c:pt idx="1">
                  <c:v>0.29902457126196097</c:v>
                </c:pt>
                <c:pt idx="2">
                  <c:v>0.33149234231850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96708286038592</c:v>
                </c:pt>
                <c:pt idx="1">
                  <c:v>0.17585585585585586</c:v>
                </c:pt>
                <c:pt idx="2">
                  <c:v>0.133378166330419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3231621820124</c:v>
                </c:pt>
                <c:pt idx="1">
                  <c:v>0.09614414414414414</c:v>
                </c:pt>
                <c:pt idx="2">
                  <c:v>0.07733691997310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52427054817386</c:v>
                </c:pt>
                <c:pt idx="1">
                  <c:v>0.15841441441441442</c:v>
                </c:pt>
                <c:pt idx="2">
                  <c:v>0.195920197265187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275756159444481</c:v>
                </c:pt>
                <c:pt idx="1">
                  <c:v>0.057873873873873875</c:v>
                </c:pt>
                <c:pt idx="2">
                  <c:v>0.064559515803631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93249649462509</c:v>
                </c:pt>
                <c:pt idx="1">
                  <c:v>0.04511711711711712</c:v>
                </c:pt>
                <c:pt idx="2">
                  <c:v>0.0585070611970410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0158910329171394</c:v>
                </c:pt>
                <c:pt idx="1">
                  <c:v>0.07156756756756756</c:v>
                </c:pt>
                <c:pt idx="2">
                  <c:v>0.054247926473884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056820458035655</c:v>
                </c:pt>
                <c:pt idx="1">
                  <c:v>0.04</c:v>
                </c:pt>
                <c:pt idx="2">
                  <c:v>0.04774714189643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164318621886893</c:v>
                </c:pt>
                <c:pt idx="1">
                  <c:v>0.04836036036036036</c:v>
                </c:pt>
                <c:pt idx="2">
                  <c:v>0.05402376148845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987647726513988</c:v>
                </c:pt>
                <c:pt idx="1">
                  <c:v>0.03790990990990991</c:v>
                </c:pt>
                <c:pt idx="2">
                  <c:v>0.0347455727415377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405087801295315</c:v>
                </c:pt>
                <c:pt idx="1">
                  <c:v>0.26875675675675675</c:v>
                </c:pt>
                <c:pt idx="2">
                  <c:v>0.279533736830307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4331318112668</c:v>
                </c:pt>
                <c:pt idx="1">
                  <c:v>0.20615424813731711</c:v>
                </c:pt>
                <c:pt idx="2">
                  <c:v>0.163874774567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14435109756036</c:v>
                </c:pt>
                <c:pt idx="1">
                  <c:v>0.10533558610920993</c:v>
                </c:pt>
                <c:pt idx="2">
                  <c:v>0.099297706970744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321463103246468</c:v>
                </c:pt>
                <c:pt idx="1">
                  <c:v>0.10142900157564765</c:v>
                </c:pt>
                <c:pt idx="2">
                  <c:v>0.124226778307173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318694979244752</c:v>
                </c:pt>
                <c:pt idx="1">
                  <c:v>0.057712549283692086</c:v>
                </c:pt>
                <c:pt idx="2">
                  <c:v>0.075200169818777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5755028710264</c:v>
                </c:pt>
                <c:pt idx="1">
                  <c:v>0.04484668023708202</c:v>
                </c:pt>
                <c:pt idx="2">
                  <c:v>0.044037143878596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8428381436831</c:v>
                </c:pt>
                <c:pt idx="1">
                  <c:v>0.04022772168871094</c:v>
                </c:pt>
                <c:pt idx="2">
                  <c:v>0.0426086662418313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611084976455335</c:v>
                </c:pt>
                <c:pt idx="1">
                  <c:v>0.04085151180963508</c:v>
                </c:pt>
                <c:pt idx="2">
                  <c:v>0.0442821147316492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9972978064939</c:v>
                </c:pt>
                <c:pt idx="1">
                  <c:v>0.04229202074641757</c:v>
                </c:pt>
                <c:pt idx="2">
                  <c:v>0.038872168724713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90323098598144</c:v>
                </c:pt>
                <c:pt idx="1">
                  <c:v>0.03754067690754291</c:v>
                </c:pt>
                <c:pt idx="2">
                  <c:v>0.0343160741621577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994953581193527</c:v>
                </c:pt>
                <c:pt idx="1">
                  <c:v>0.32361000350474467</c:v>
                </c:pt>
                <c:pt idx="2">
                  <c:v>0.33328440259679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673631084155593</c:v>
                </c:pt>
                <c:pt idx="1">
                  <c:v>0.14307601216301655</c:v>
                </c:pt>
                <c:pt idx="2">
                  <c:v>0.10962786289828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320236467219</c:v>
                </c:pt>
                <c:pt idx="1">
                  <c:v>0.08966210497793864</c:v>
                </c:pt>
                <c:pt idx="2">
                  <c:v>0.079619292907766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32146295694408</c:v>
                </c:pt>
                <c:pt idx="1">
                  <c:v>0.18129283900728912</c:v>
                </c:pt>
                <c:pt idx="2">
                  <c:v>0.218081319687852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821846234983164</c:v>
                </c:pt>
                <c:pt idx="1">
                  <c:v>0.05075450175453855</c:v>
                </c:pt>
                <c:pt idx="2">
                  <c:v>0.0687276964863038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128965394592407</c:v>
                </c:pt>
                <c:pt idx="1">
                  <c:v>0.05918264261270694</c:v>
                </c:pt>
                <c:pt idx="2">
                  <c:v>0.0602846687857366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16761821827838</c:v>
                </c:pt>
                <c:pt idx="1">
                  <c:v>0.042871622638732315</c:v>
                </c:pt>
                <c:pt idx="2">
                  <c:v>0.0435301105936872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82146602316839</c:v>
                </c:pt>
                <c:pt idx="1">
                  <c:v>0.03529649861677466</c:v>
                </c:pt>
                <c:pt idx="2">
                  <c:v>0.038265687843763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436415706427419</c:v>
                </c:pt>
                <c:pt idx="1">
                  <c:v>0.05461147591983649</c:v>
                </c:pt>
                <c:pt idx="2">
                  <c:v>0.0479193967452173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100099958912594</c:v>
                </c:pt>
                <c:pt idx="1">
                  <c:v>0.04989479459020068</c:v>
                </c:pt>
                <c:pt idx="2">
                  <c:v>0.0439563429265837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02630820460302</c:v>
                </c:pt>
                <c:pt idx="1">
                  <c:v>0.29335750771896607</c:v>
                </c:pt>
                <c:pt idx="2">
                  <c:v>0.2899876211247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134</c:v>
                </c:pt>
                <c:pt idx="1">
                  <c:v>1.034553</c:v>
                </c:pt>
                <c:pt idx="2">
                  <c:v>0.307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5923</c:v>
                </c:pt>
                <c:pt idx="1">
                  <c:v>0.536705</c:v>
                </c:pt>
                <c:pt idx="2">
                  <c:v>0.2015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0508</c:v>
                </c:pt>
                <c:pt idx="1">
                  <c:v>0.268635</c:v>
                </c:pt>
                <c:pt idx="2">
                  <c:v>0.115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15029</c:v>
                </c:pt>
                <c:pt idx="1">
                  <c:v>0.263832</c:v>
                </c:pt>
                <c:pt idx="2">
                  <c:v>0.1370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0936</c:v>
                </c:pt>
                <c:pt idx="1">
                  <c:v>0.266508</c:v>
                </c:pt>
                <c:pt idx="2">
                  <c:v>0.0788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2622</c:v>
                </c:pt>
                <c:pt idx="1">
                  <c:v>0.28417</c:v>
                </c:pt>
                <c:pt idx="2">
                  <c:v>0.1306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6668</c:v>
                </c:pt>
                <c:pt idx="1">
                  <c:v>0.158099</c:v>
                </c:pt>
                <c:pt idx="2">
                  <c:v>0.06104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36</c:v>
                </c:pt>
                <c:pt idx="1">
                  <c:v>0.12445</c:v>
                </c:pt>
                <c:pt idx="2">
                  <c:v>0.05748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6468</c:v>
                </c:pt>
                <c:pt idx="1">
                  <c:v>0.096679</c:v>
                </c:pt>
                <c:pt idx="2">
                  <c:v>0.03253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5746</c:v>
                </c:pt>
                <c:pt idx="1">
                  <c:v>0.466819</c:v>
                </c:pt>
                <c:pt idx="2">
                  <c:v>0.2025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415016962720378</c:v>
                </c:pt>
                <c:pt idx="1">
                  <c:v>0.21803277839495144</c:v>
                </c:pt>
                <c:pt idx="2">
                  <c:v>0.165307480734842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5600165726993</c:v>
                </c:pt>
                <c:pt idx="1">
                  <c:v>0.13377692150327966</c:v>
                </c:pt>
                <c:pt idx="2">
                  <c:v>0.153239192667612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89032734917373</c:v>
                </c:pt>
                <c:pt idx="1">
                  <c:v>0.08763002726785422</c:v>
                </c:pt>
                <c:pt idx="2">
                  <c:v>0.090556263882540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45531956793336</c:v>
                </c:pt>
                <c:pt idx="1">
                  <c:v>0.055632378570004325</c:v>
                </c:pt>
                <c:pt idx="2">
                  <c:v>0.057322363620326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897874576891058</c:v>
                </c:pt>
                <c:pt idx="1">
                  <c:v>0.06495601666627823</c:v>
                </c:pt>
                <c:pt idx="2">
                  <c:v>0.0646274868291274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03264924060976</c:v>
                </c:pt>
                <c:pt idx="1">
                  <c:v>0.05145286131201624</c:v>
                </c:pt>
                <c:pt idx="2">
                  <c:v>0.0455387428131540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824303812360216</c:v>
                </c:pt>
                <c:pt idx="1">
                  <c:v>0.05394011430228734</c:v>
                </c:pt>
                <c:pt idx="2">
                  <c:v>0.0550570537339523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7838937915037</c:v>
                </c:pt>
                <c:pt idx="1">
                  <c:v>0.036341601733955856</c:v>
                </c:pt>
                <c:pt idx="2">
                  <c:v>0.0442637542399384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5367099355634</c:v>
                </c:pt>
                <c:pt idx="1">
                  <c:v>0.026854822629470518</c:v>
                </c:pt>
                <c:pt idx="2">
                  <c:v>0.0419342939851010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72933687463955</c:v>
                </c:pt>
                <c:pt idx="1">
                  <c:v>0.27138247761990214</c:v>
                </c:pt>
                <c:pt idx="2">
                  <c:v>0.28215336749340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048974025168929</c:v>
                </c:pt>
                <c:pt idx="1">
                  <c:v>0.14394038436396914</c:v>
                </c:pt>
                <c:pt idx="2">
                  <c:v>0.104883907125700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395511747566797</c:v>
                </c:pt>
                <c:pt idx="1">
                  <c:v>0.22636946006013858</c:v>
                </c:pt>
                <c:pt idx="2">
                  <c:v>0.2540032025620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70386212882029</c:v>
                </c:pt>
                <c:pt idx="1">
                  <c:v>0.07085893580860243</c:v>
                </c:pt>
                <c:pt idx="2">
                  <c:v>0.068454763811048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731324778377038</c:v>
                </c:pt>
                <c:pt idx="1">
                  <c:v>0.06994378350111126</c:v>
                </c:pt>
                <c:pt idx="2">
                  <c:v>0.074859887910328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336061000557933</c:v>
                </c:pt>
                <c:pt idx="1">
                  <c:v>0.08301738789384233</c:v>
                </c:pt>
                <c:pt idx="2">
                  <c:v>0.0814651721377101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84489492281942</c:v>
                </c:pt>
                <c:pt idx="1">
                  <c:v>0.04399267878154007</c:v>
                </c:pt>
                <c:pt idx="2">
                  <c:v>0.0388310648518815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33420122745025</c:v>
                </c:pt>
                <c:pt idx="1">
                  <c:v>0.06700222251274676</c:v>
                </c:pt>
                <c:pt idx="2">
                  <c:v>0.064451561248999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7591593825553</c:v>
                </c:pt>
                <c:pt idx="1">
                  <c:v>0.03745587658517453</c:v>
                </c:pt>
                <c:pt idx="2">
                  <c:v>0.042834267413931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59475543983634</c:v>
                </c:pt>
                <c:pt idx="1">
                  <c:v>0.021963655379788206</c:v>
                </c:pt>
                <c:pt idx="2">
                  <c:v>0.035228182546036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232843593081646</c:v>
                </c:pt>
                <c:pt idx="1">
                  <c:v>0.23545561511308669</c:v>
                </c:pt>
                <c:pt idx="2">
                  <c:v>0.234987990392313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71835468500783</c:v>
                </c:pt>
                <c:pt idx="1">
                  <c:v>0.20702539026432487</c:v>
                </c:pt>
                <c:pt idx="2">
                  <c:v>0.168000075775599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87836051508855</c:v>
                </c:pt>
                <c:pt idx="1">
                  <c:v>0.11112095951424174</c:v>
                </c:pt>
                <c:pt idx="2">
                  <c:v>0.1314536712999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384845100548203</c:v>
                </c:pt>
                <c:pt idx="1">
                  <c:v>0.10436791705495428</c:v>
                </c:pt>
                <c:pt idx="2">
                  <c:v>0.0945654408663379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88338321240207</c:v>
                </c:pt>
                <c:pt idx="1">
                  <c:v>0.04812262734293348</c:v>
                </c:pt>
                <c:pt idx="2">
                  <c:v>0.04304388354404707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06680132252715</c:v>
                </c:pt>
                <c:pt idx="1">
                  <c:v>0.0496799290603631</c:v>
                </c:pt>
                <c:pt idx="2">
                  <c:v>0.068562988188478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9154109540228245</c:v>
                </c:pt>
                <c:pt idx="1">
                  <c:v>0.04285498569084321</c:v>
                </c:pt>
                <c:pt idx="2">
                  <c:v>0.04609162272889106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30900439417044</c:v>
                </c:pt>
                <c:pt idx="1">
                  <c:v>0.04437891526725831</c:v>
                </c:pt>
                <c:pt idx="2">
                  <c:v>0.0400635623557965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347544998062005</c:v>
                </c:pt>
                <c:pt idx="1">
                  <c:v>0.04662749704856006</c:v>
                </c:pt>
                <c:pt idx="2">
                  <c:v>0.0428087563162583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53740286455592</c:v>
                </c:pt>
                <c:pt idx="1">
                  <c:v>0.03932940871765943</c:v>
                </c:pt>
                <c:pt idx="2">
                  <c:v>0.0412954730208221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81346914172291</c:v>
                </c:pt>
                <c:pt idx="1">
                  <c:v>0.30649237003886154</c:v>
                </c:pt>
                <c:pt idx="2">
                  <c:v>0.32411452590383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5751259945725</c:v>
                </c:pt>
                <c:pt idx="1">
                  <c:v>0.14091924914365853</c:v>
                </c:pt>
                <c:pt idx="2">
                  <c:v>0.110735686954010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79294430393768</c:v>
                </c:pt>
                <c:pt idx="1">
                  <c:v>0.19554853778748607</c:v>
                </c:pt>
                <c:pt idx="2">
                  <c:v>0.22750703920294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75938267274641</c:v>
                </c:pt>
                <c:pt idx="1">
                  <c:v>0.08705675816109813</c:v>
                </c:pt>
                <c:pt idx="2">
                  <c:v>0.0745938921377517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72155660986911</c:v>
                </c:pt>
                <c:pt idx="1">
                  <c:v>0.0624385174572586</c:v>
                </c:pt>
                <c:pt idx="2">
                  <c:v>0.0584362139917695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06416954346582</c:v>
                </c:pt>
                <c:pt idx="1">
                  <c:v>0.04310714483899771</c:v>
                </c:pt>
                <c:pt idx="2">
                  <c:v>0.061916107140278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3928815374107</c:v>
                </c:pt>
                <c:pt idx="1">
                  <c:v>0.04478703708374742</c:v>
                </c:pt>
                <c:pt idx="2">
                  <c:v>0.0464226409645512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88401115028891</c:v>
                </c:pt>
                <c:pt idx="1">
                  <c:v>0.057726747617630296</c:v>
                </c:pt>
                <c:pt idx="2">
                  <c:v>0.0507688975525232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5945282357067694</c:v>
                </c:pt>
                <c:pt idx="1">
                  <c:v>0.05926538766162026</c:v>
                </c:pt>
                <c:pt idx="2">
                  <c:v>0.0519818063677712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2606287729144</c:v>
                </c:pt>
                <c:pt idx="1">
                  <c:v>0.03332542993638606</c:v>
                </c:pt>
                <c:pt idx="2">
                  <c:v>0.0352609919861381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35368937953443</c:v>
                </c:pt>
                <c:pt idx="1">
                  <c:v>0.27582519031211694</c:v>
                </c:pt>
                <c:pt idx="2">
                  <c:v>0.282376723702259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8979419227517</c:v>
                </c:pt>
                <c:pt idx="1">
                  <c:v>0.20052667475176747</c:v>
                </c:pt>
                <c:pt idx="2">
                  <c:v>0.16581318529925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09703035429</c:v>
                </c:pt>
                <c:pt idx="1">
                  <c:v>0.10861204310302472</c:v>
                </c:pt>
                <c:pt idx="2">
                  <c:v>0.09552156344258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98541020580772</c:v>
                </c:pt>
                <c:pt idx="1">
                  <c:v>0.1081367637121996</c:v>
                </c:pt>
                <c:pt idx="2">
                  <c:v>0.129300914212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013567803777841</c:v>
                </c:pt>
                <c:pt idx="1">
                  <c:v>0.04907065123005906</c:v>
                </c:pt>
                <c:pt idx="2">
                  <c:v>0.04886434469896403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487618644864206</c:v>
                </c:pt>
                <c:pt idx="1">
                  <c:v>0.049813244873963394</c:v>
                </c:pt>
                <c:pt idx="2">
                  <c:v>0.062956843923800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638849732168</c:v>
                </c:pt>
                <c:pt idx="1">
                  <c:v>0.04431299264022323</c:v>
                </c:pt>
                <c:pt idx="2">
                  <c:v>0.0450748518288708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54355793628418</c:v>
                </c:pt>
                <c:pt idx="1">
                  <c:v>0.045019952491519646</c:v>
                </c:pt>
                <c:pt idx="2">
                  <c:v>0.0415284988019221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18501550606146</c:v>
                </c:pt>
                <c:pt idx="1">
                  <c:v>0.038391458981248114</c:v>
                </c:pt>
                <c:pt idx="2">
                  <c:v>0.043100186074957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19154684710084</c:v>
                </c:pt>
                <c:pt idx="1">
                  <c:v>0.038697812304044545</c:v>
                </c:pt>
                <c:pt idx="2">
                  <c:v>0.04520763537424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06077906211823</c:v>
                </c:pt>
                <c:pt idx="1">
                  <c:v>0.31741840591195025</c:v>
                </c:pt>
                <c:pt idx="2">
                  <c:v>0.322631976342457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39281608854864</c:v>
                </c:pt>
                <c:pt idx="1">
                  <c:v>0.13772193285936965</c:v>
                </c:pt>
                <c:pt idx="2">
                  <c:v>0.1102640592199756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60335612623396</c:v>
                </c:pt>
                <c:pt idx="1">
                  <c:v>0.09137107300814863</c:v>
                </c:pt>
                <c:pt idx="2">
                  <c:v>0.075277133281773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03403529146866</c:v>
                </c:pt>
                <c:pt idx="1">
                  <c:v>0.1894967620930439</c:v>
                </c:pt>
                <c:pt idx="2">
                  <c:v>0.222314293079954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7264022374175</c:v>
                </c:pt>
                <c:pt idx="1">
                  <c:v>0.06394074186721413</c:v>
                </c:pt>
                <c:pt idx="2">
                  <c:v>0.065793834935366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2530367491082</c:v>
                </c:pt>
                <c:pt idx="1">
                  <c:v>0.04359452027018464</c:v>
                </c:pt>
                <c:pt idx="2">
                  <c:v>0.0566788200198873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256200893544908</c:v>
                </c:pt>
                <c:pt idx="1">
                  <c:v>0.05778174859648456</c:v>
                </c:pt>
                <c:pt idx="2">
                  <c:v>0.05693661842153721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6948674496047784</c:v>
                </c:pt>
                <c:pt idx="1">
                  <c:v>0.05586181550900404</c:v>
                </c:pt>
                <c:pt idx="2">
                  <c:v>0.049681434832246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26801606958748</c:v>
                </c:pt>
                <c:pt idx="1">
                  <c:v>0.04007147473672205</c:v>
                </c:pt>
                <c:pt idx="2">
                  <c:v>0.0433653739918241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808361873837146</c:v>
                </c:pt>
                <c:pt idx="1">
                  <c:v>0.032822618459237854</c:v>
                </c:pt>
                <c:pt idx="2">
                  <c:v>0.0384303760173829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5784695969567</c:v>
                </c:pt>
                <c:pt idx="1">
                  <c:v>0.28733731260059053</c:v>
                </c:pt>
                <c:pt idx="2">
                  <c:v>0.281258056200051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7137703530522</c:v>
                </c:pt>
                <c:pt idx="1">
                  <c:v>0.6264300882606676</c:v>
                </c:pt>
                <c:pt idx="2">
                  <c:v>0.7045950080359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042235835246942</c:v>
                </c:pt>
                <c:pt idx="1">
                  <c:v>0.23188167761629835</c:v>
                </c:pt>
                <c:pt idx="2">
                  <c:v>0.215506457796797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20904934682919</c:v>
                </c:pt>
                <c:pt idx="1">
                  <c:v>0.060425376600968875</c:v>
                </c:pt>
                <c:pt idx="2">
                  <c:v>0.011947408167612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46548219476492</c:v>
                </c:pt>
                <c:pt idx="1">
                  <c:v>0.08126285752206516</c:v>
                </c:pt>
                <c:pt idx="2">
                  <c:v>0.067951125999651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8245934195695</c:v>
                </c:pt>
                <c:pt idx="1">
                  <c:v>0.6363696676175944</c:v>
                </c:pt>
                <c:pt idx="2">
                  <c:v>0.7127429805615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9169663464119</c:v>
                </c:pt>
                <c:pt idx="1">
                  <c:v>0.23114177668679095</c:v>
                </c:pt>
                <c:pt idx="2">
                  <c:v>0.211663066954643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71359562020289</c:v>
                </c:pt>
                <c:pt idx="1">
                  <c:v>0.056126849333244876</c:v>
                </c:pt>
                <c:pt idx="2">
                  <c:v>0.01018204257945078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54484461381568</c:v>
                </c:pt>
                <c:pt idx="1">
                  <c:v>0.0763617063623698</c:v>
                </c:pt>
                <c:pt idx="2">
                  <c:v>0.06541190990435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119077386865</c:v>
                </c:pt>
                <c:pt idx="1">
                  <c:v>0.5971523831055604</c:v>
                </c:pt>
                <c:pt idx="2">
                  <c:v>0.625025524252680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77875278968954</c:v>
                </c:pt>
                <c:pt idx="1">
                  <c:v>0.2607994012676287</c:v>
                </c:pt>
                <c:pt idx="2">
                  <c:v>0.246753005674118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5418132105675</c:v>
                </c:pt>
                <c:pt idx="1">
                  <c:v>0.03933079183915304</c:v>
                </c:pt>
                <c:pt idx="2">
                  <c:v>0.012499149191577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4638304336142</c:v>
                </c:pt>
                <c:pt idx="1">
                  <c:v>0.1027174237876579</c:v>
                </c:pt>
                <c:pt idx="2">
                  <c:v>0.115722320881623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0978607191625</c:v>
                </c:pt>
                <c:pt idx="1">
                  <c:v>0.6084821894912775</c:v>
                </c:pt>
                <c:pt idx="2">
                  <c:v>0.63245942571785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33454710969504</c:v>
                </c:pt>
                <c:pt idx="1">
                  <c:v>0.2589574845920819</c:v>
                </c:pt>
                <c:pt idx="2">
                  <c:v>0.244444444444444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8848429676832</c:v>
                </c:pt>
                <c:pt idx="1">
                  <c:v>0.036979003447195236</c:v>
                </c:pt>
                <c:pt idx="2">
                  <c:v>0.0114856429463171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68274920345927</c:v>
                </c:pt>
                <c:pt idx="1">
                  <c:v>0.09558132246944533</c:v>
                </c:pt>
                <c:pt idx="2">
                  <c:v>0.111610486891385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17552414552482</c:v>
                </c:pt>
                <c:pt idx="1">
                  <c:v>0.6829592197082361</c:v>
                </c:pt>
                <c:pt idx="2">
                  <c:v>0.78091872791519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0885598076448</c:v>
                </c:pt>
                <c:pt idx="1">
                  <c:v>0.05315513819739074</c:v>
                </c:pt>
                <c:pt idx="2">
                  <c:v>0.0148433141156778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3359025639873</c:v>
                </c:pt>
                <c:pt idx="1">
                  <c:v>0.26388564209437315</c:v>
                </c:pt>
                <c:pt idx="2">
                  <c:v>0.204237957969127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08454608454609</c:v>
                </c:pt>
                <c:pt idx="1">
                  <c:v>0.6919222289035879</c:v>
                </c:pt>
                <c:pt idx="2">
                  <c:v>0.78544776119402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91129591129591</c:v>
                </c:pt>
                <c:pt idx="1">
                  <c:v>0.04990980156343957</c:v>
                </c:pt>
                <c:pt idx="2">
                  <c:v>0.0125932835820895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24324324324326</c:v>
                </c:pt>
                <c:pt idx="1">
                  <c:v>0.25816796953297255</c:v>
                </c:pt>
                <c:pt idx="2">
                  <c:v>0.201958955223880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57256848653835</c:v>
                </c:pt>
                <c:pt idx="1">
                  <c:v>0.6405605203581456</c:v>
                </c:pt>
                <c:pt idx="2">
                  <c:v>0.71085899294742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152392981439273</c:v>
                </c:pt>
                <c:pt idx="1">
                  <c:v>0.2234450102317613</c:v>
                </c:pt>
                <c:pt idx="2">
                  <c:v>0.19256052991792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15989211407197</c:v>
                </c:pt>
                <c:pt idx="1">
                  <c:v>0.04355721968033394</c:v>
                </c:pt>
                <c:pt idx="2">
                  <c:v>0.0091289599530472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9049320615183</c:v>
                </c:pt>
                <c:pt idx="1">
                  <c:v>0.09243724972975913</c:v>
                </c:pt>
                <c:pt idx="2">
                  <c:v>0.0874515171815965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61209943874533</c:v>
                </c:pt>
                <c:pt idx="1">
                  <c:v>0.6500927391222965</c:v>
                </c:pt>
                <c:pt idx="2">
                  <c:v>0.71753032828184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824005540406008</c:v>
                </c:pt>
                <c:pt idx="1">
                  <c:v>0.22271002433338438</c:v>
                </c:pt>
                <c:pt idx="2">
                  <c:v>0.1903027014456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019550130574673</c:v>
                </c:pt>
                <c:pt idx="1">
                  <c:v>0.03992036346929399</c:v>
                </c:pt>
                <c:pt idx="2">
                  <c:v>0.0077516375334289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54434489027399</c:v>
                </c:pt>
                <c:pt idx="1">
                  <c:v>0.0872768730750251</c:v>
                </c:pt>
                <c:pt idx="2">
                  <c:v>0.084415332739041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45</c:v>
                </c:pt>
                <c:pt idx="1">
                  <c:v>0.005129</c:v>
                </c:pt>
                <c:pt idx="2">
                  <c:v>0.0014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78</c:v>
                </c:pt>
                <c:pt idx="1">
                  <c:v>0.003458</c:v>
                </c:pt>
                <c:pt idx="2">
                  <c:v>0.00104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09</c:v>
                </c:pt>
                <c:pt idx="1">
                  <c:v>0.007483</c:v>
                </c:pt>
                <c:pt idx="2">
                  <c:v>0.00263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301</c:v>
                </c:pt>
                <c:pt idx="1">
                  <c:v>0.00352</c:v>
                </c:pt>
                <c:pt idx="2">
                  <c:v>0.00112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381</c:v>
                </c:pt>
                <c:pt idx="1">
                  <c:v>0.001865</c:v>
                </c:pt>
                <c:pt idx="2">
                  <c:v>0.00066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821</c:v>
                </c:pt>
                <c:pt idx="1">
                  <c:v>0.002431</c:v>
                </c:pt>
                <c:pt idx="2">
                  <c:v>0.00084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c:v>
                </c:pt>
                <c:pt idx="1">
                  <c:v>0.001383</c:v>
                </c:pt>
                <c:pt idx="2">
                  <c:v>0.0005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2</c:v>
                </c:pt>
                <c:pt idx="1">
                  <c:v>0.001942</c:v>
                </c:pt>
                <c:pt idx="2">
                  <c:v>0.00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08</c:v>
                </c:pt>
                <c:pt idx="1">
                  <c:v>0.001002</c:v>
                </c:pt>
                <c:pt idx="2">
                  <c:v>0.00044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8691</c:v>
                </c:pt>
                <c:pt idx="1">
                  <c:v>0.018744</c:v>
                </c:pt>
                <c:pt idx="2">
                  <c:v>0.0068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2690916121192</c:v>
                </c:pt>
                <c:pt idx="1">
                  <c:v>0.6362448795277876</c:v>
                </c:pt>
                <c:pt idx="2">
                  <c:v>0.66560437058957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4542491783357</c:v>
                </c:pt>
                <c:pt idx="1">
                  <c:v>0.19833564493758668</c:v>
                </c:pt>
                <c:pt idx="2">
                  <c:v>0.21443205099021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272654459082498</c:v>
                </c:pt>
                <c:pt idx="1">
                  <c:v>0.06541302454601168</c:v>
                </c:pt>
                <c:pt idx="2">
                  <c:v>0.0230366492146596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5011461872015</c:v>
                </c:pt>
                <c:pt idx="1">
                  <c:v>0.100006450988614</c:v>
                </c:pt>
                <c:pt idx="2">
                  <c:v>0.096926929205554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17921527041357</c:v>
                </c:pt>
                <c:pt idx="1">
                  <c:v>0.6455534229046705</c:v>
                </c:pt>
                <c:pt idx="2">
                  <c:v>0.67948717948717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762460233297986</c:v>
                </c:pt>
                <c:pt idx="1">
                  <c:v>0.19641714651311581</c:v>
                </c:pt>
                <c:pt idx="2">
                  <c:v>0.20512820512820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52492046659597</c:v>
                </c:pt>
                <c:pt idx="1">
                  <c:v>0.06269993602047345</c:v>
                </c:pt>
                <c:pt idx="2">
                  <c:v>0.0183150183150183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05832449628844</c:v>
                </c:pt>
                <c:pt idx="1">
                  <c:v>0.09532949456174024</c:v>
                </c:pt>
                <c:pt idx="2">
                  <c:v>0.097069597069597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7072768810157</c:v>
                </c:pt>
                <c:pt idx="1">
                  <c:v>0.6122157530484456</c:v>
                </c:pt>
                <c:pt idx="2">
                  <c:v>0.58899022801302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358675705029774</c:v>
                </c:pt>
                <c:pt idx="1">
                  <c:v>0.30998571899373834</c:v>
                </c:pt>
                <c:pt idx="2">
                  <c:v>0.34931596091205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215684805812516</c:v>
                </c:pt>
                <c:pt idx="1">
                  <c:v>0.039195869493573544</c:v>
                </c:pt>
                <c:pt idx="2">
                  <c:v>0.0145276872964169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812478933373282</c:v>
                </c:pt>
                <c:pt idx="1">
                  <c:v>0.03860265846424256</c:v>
                </c:pt>
                <c:pt idx="2">
                  <c:v>0.047166123778501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01736613603473</c:v>
                </c:pt>
                <c:pt idx="1">
                  <c:v>0.6166666666666667</c:v>
                </c:pt>
                <c:pt idx="2">
                  <c:v>0.59067357512953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14182344428365</c:v>
                </c:pt>
                <c:pt idx="1">
                  <c:v>0.3078947368421053</c:v>
                </c:pt>
                <c:pt idx="2">
                  <c:v>0.34715025906735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8509406657019</c:v>
                </c:pt>
                <c:pt idx="1">
                  <c:v>0.035964912280701755</c:v>
                </c:pt>
                <c:pt idx="2">
                  <c:v>0.01295336787564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39942112879884</c:v>
                </c:pt>
                <c:pt idx="1">
                  <c:v>0.039473684210526314</c:v>
                </c:pt>
                <c:pt idx="2">
                  <c:v>0.049222797927461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00292676742743</c:v>
                </c:pt>
                <c:pt idx="1">
                  <c:v>0.6497595266574344</c:v>
                </c:pt>
                <c:pt idx="2">
                  <c:v>0.72155843631913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228063567291</c:v>
                </c:pt>
                <c:pt idx="1">
                  <c:v>0.04306040834677005</c:v>
                </c:pt>
                <c:pt idx="2">
                  <c:v>0.0133836719874130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62845169005277</c:v>
                </c:pt>
                <c:pt idx="1">
                  <c:v>0.30718006499579553</c:v>
                </c:pt>
                <c:pt idx="2">
                  <c:v>0.26505789169344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4262364778686</c:v>
                </c:pt>
                <c:pt idx="1">
                  <c:v>0.659546135493536</c:v>
                </c:pt>
                <c:pt idx="2">
                  <c:v>0.72779948793963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942651991119089</c:v>
                </c:pt>
                <c:pt idx="1">
                  <c:v>0.039616046163235864</c:v>
                </c:pt>
                <c:pt idx="2">
                  <c:v>0.011858240129362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1472436109405</c:v>
                </c:pt>
                <c:pt idx="1">
                  <c:v>0.30083781834322815</c:v>
                </c:pt>
                <c:pt idx="2">
                  <c:v>0.26034227193100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97723858303799</c:v>
                </c:pt>
                <c:pt idx="1">
                  <c:v>0.6764487260990758</c:v>
                </c:pt>
                <c:pt idx="2">
                  <c:v>0.700285201539939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2072715882527</c:v>
                </c:pt>
                <c:pt idx="1">
                  <c:v>0.21214566319461425</c:v>
                </c:pt>
                <c:pt idx="2">
                  <c:v>0.21204324936146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88196430332315</c:v>
                </c:pt>
                <c:pt idx="1">
                  <c:v>0.04983617780820578</c:v>
                </c:pt>
                <c:pt idx="2">
                  <c:v>0.0120596316953481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13837827804429</c:v>
                </c:pt>
                <c:pt idx="1">
                  <c:v>0.06156943289810422</c:v>
                </c:pt>
                <c:pt idx="2">
                  <c:v>0.075611917403251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0376099994395</c:v>
                </c:pt>
                <c:pt idx="1">
                  <c:v>0.6862476339664513</c:v>
                </c:pt>
                <c:pt idx="2">
                  <c:v>0.70773381294964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16327560114342</c:v>
                </c:pt>
                <c:pt idx="1">
                  <c:v>0.21016904901768815</c:v>
                </c:pt>
                <c:pt idx="2">
                  <c:v>0.209232613908872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08889636231153</c:v>
                </c:pt>
                <c:pt idx="1">
                  <c:v>0.04634162260949024</c:v>
                </c:pt>
                <c:pt idx="2">
                  <c:v>0.0103417266187050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371728042150106</c:v>
                </c:pt>
                <c:pt idx="1">
                  <c:v>0.05724169440637034</c:v>
                </c:pt>
                <c:pt idx="2">
                  <c:v>0.072691846522781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03345529067142</c:v>
                </c:pt>
                <c:pt idx="1">
                  <c:v>0.6545249591104721</c:v>
                </c:pt>
                <c:pt idx="2">
                  <c:v>0.70932084035088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7773390916</c:v>
                </c:pt>
                <c:pt idx="1">
                  <c:v>0.0631437759628436</c:v>
                </c:pt>
                <c:pt idx="2">
                  <c:v>0.0193287390139626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255693593766</c:v>
                </c:pt>
                <c:pt idx="1">
                  <c:v>0.2823312649266842</c:v>
                </c:pt>
                <c:pt idx="2">
                  <c:v>0.27135042063515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1559535170942</c:v>
                </c:pt>
                <c:pt idx="1">
                  <c:v>0.6660692522761489</c:v>
                </c:pt>
                <c:pt idx="2">
                  <c:v>0.71831932773109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70701173300398</c:v>
                </c:pt>
                <c:pt idx="1">
                  <c:v>0.058355437665782495</c:v>
                </c:pt>
                <c:pt idx="2">
                  <c:v>0.01680672268907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13703474990173</c:v>
                </c:pt>
                <c:pt idx="1">
                  <c:v>0.2755753100580687</c:v>
                </c:pt>
                <c:pt idx="2">
                  <c:v>0.264873949579831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3625848568038</c:v>
                </c:pt>
                <c:pt idx="1">
                  <c:v>0.895782681295929</c:v>
                </c:pt>
                <c:pt idx="2">
                  <c:v>0.73220748476597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37415143196205</c:v>
                </c:pt>
                <c:pt idx="1">
                  <c:v>0.10421731870407099</c:v>
                </c:pt>
                <c:pt idx="2">
                  <c:v>0.26779251523402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16546762589928</c:v>
                </c:pt>
                <c:pt idx="1">
                  <c:v>0.9228062913907285</c:v>
                </c:pt>
                <c:pt idx="2">
                  <c:v>0.7867953498574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34532374100719</c:v>
                </c:pt>
                <c:pt idx="1">
                  <c:v>0.07719370860927152</c:v>
                </c:pt>
                <c:pt idx="2">
                  <c:v>0.213204650142575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406575546027274</c:v>
                </c:pt>
                <c:pt idx="1">
                  <c:v>0.8791138378733391</c:v>
                </c:pt>
                <c:pt idx="2">
                  <c:v>0.68630756523269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4244539727258</c:v>
                </c:pt>
                <c:pt idx="1">
                  <c:v>0.12088616212666095</c:v>
                </c:pt>
                <c:pt idx="2">
                  <c:v>0.313692434767301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20040155602962</c:v>
                </c:pt>
                <c:pt idx="1">
                  <c:v>0.9092166695486772</c:v>
                </c:pt>
                <c:pt idx="2">
                  <c:v>0.74484052532833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799598443970386</c:v>
                </c:pt>
                <c:pt idx="1">
                  <c:v>0.09078333045132285</c:v>
                </c:pt>
                <c:pt idx="2">
                  <c:v>0.25515947467166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184</c:v>
                </c:pt>
                <c:pt idx="1">
                  <c:v>0.108442</c:v>
                </c:pt>
                <c:pt idx="2">
                  <c:v>0.03133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511</c:v>
                </c:pt>
                <c:pt idx="1">
                  <c:v>0.065726</c:v>
                </c:pt>
                <c:pt idx="2">
                  <c:v>0.02266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973</c:v>
                </c:pt>
                <c:pt idx="1">
                  <c:v>0.064341</c:v>
                </c:pt>
                <c:pt idx="2">
                  <c:v>0.0203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7</c:v>
                </c:pt>
                <c:pt idx="1">
                  <c:v>0.108391</c:v>
                </c:pt>
                <c:pt idx="2">
                  <c:v>0.04809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9244</c:v>
                </c:pt>
                <c:pt idx="1">
                  <c:v>0.037086</c:v>
                </c:pt>
                <c:pt idx="2">
                  <c:v>0.0149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454</c:v>
                </c:pt>
                <c:pt idx="1">
                  <c:v>0.030345</c:v>
                </c:pt>
                <c:pt idx="2">
                  <c:v>0.01515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322</c:v>
                </c:pt>
                <c:pt idx="1">
                  <c:v>0.021103</c:v>
                </c:pt>
                <c:pt idx="2">
                  <c:v>0.0084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6</c:v>
                </c:pt>
                <c:pt idx="1">
                  <c:v>0.032651</c:v>
                </c:pt>
                <c:pt idx="2">
                  <c:v>0.0105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005</c:v>
                </c:pt>
                <c:pt idx="1">
                  <c:v>0.02579</c:v>
                </c:pt>
                <c:pt idx="2">
                  <c:v>0.01145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3178</c:v>
                </c:pt>
                <c:pt idx="1">
                  <c:v>0.104003</c:v>
                </c:pt>
                <c:pt idx="2">
                  <c:v>0.0374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882238</c:v>
                </c:pt>
                <c:pt idx="1">
                  <c:v>8.073996</c:v>
                </c:pt>
                <c:pt idx="2">
                  <c:v>2.3806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4.9</a:t>
                    </a:r>
                  </a:p>
                </c:rich>
              </c:tx>
              <c:showLegendKey val="0"/>
              <c:showVal val="1"/>
              <c:showCatName val="0"/>
              <c:showSerName val="0"/>
              <c:showPercent val="0"/>
              <c:showBubbleSize val="0"/>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56095</c:v>
                </c:pt>
                <c:pt idx="1">
                  <c:v>4.301798</c:v>
                </c:pt>
                <c:pt idx="2">
                  <c:v>1.5520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4.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01121</c:v>
                </c:pt>
                <c:pt idx="1">
                  <c:v>2.909339</c:v>
                </c:pt>
                <c:pt idx="2">
                  <c:v>0.88779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83056</c:v>
                </c:pt>
                <c:pt idx="1">
                  <c:v>3.204869</c:v>
                </c:pt>
                <c:pt idx="2">
                  <c:v>1.4361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799374</c:v>
                </c:pt>
                <c:pt idx="1">
                  <c:v>2.186178</c:v>
                </c:pt>
                <c:pt idx="2">
                  <c:v>0.91314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13244</c:v>
                </c:pt>
                <c:pt idx="1">
                  <c:v>1.823553</c:v>
                </c:pt>
                <c:pt idx="2">
                  <c:v>0.8693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91987</c:v>
                </c:pt>
                <c:pt idx="1">
                  <c:v>1.290792</c:v>
                </c:pt>
                <c:pt idx="2">
                  <c:v>0.51192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8015</c:v>
                </c:pt>
                <c:pt idx="1">
                  <c:v>1.336308</c:v>
                </c:pt>
                <c:pt idx="2">
                  <c:v>0.44938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86178</c:v>
                </c:pt>
                <c:pt idx="1">
                  <c:v>1.322349</c:v>
                </c:pt>
                <c:pt idx="2">
                  <c:v>0.5810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782914</c:v>
                </c:pt>
                <c:pt idx="1">
                  <c:v>5.147984</c:v>
                </c:pt>
                <c:pt idx="2">
                  <c:v>1.9791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0%</a:t>
                    </a:r>
                  </a:p>
                </c:rich>
              </c:tx>
              <c:showLegendKey val="0"/>
              <c:showVal val="1"/>
              <c:showCatName val="0"/>
              <c:showSerName val="0"/>
              <c:showPercent val="0"/>
              <c:showBubbleSize val="0"/>
            </c:dLbl>
            <c:dLbl>
              <c:idx val="1"/>
              <c:tx>
                <c:rich>
                  <a:bodyPr/>
                  <a:lstStyle/>
                  <a:p>
                    <a:r>
                      <a:rPr sz="800">
                        <a:solidFill>
                          <a:srgbClr val="FFFFFF"/>
                        </a:solidFill>
                        <a:latin typeface="Nexa Book"/>
                      </a:rPr>
                      <a:t>95%</a:t>
                    </a:r>
                  </a:p>
                </c:rich>
              </c:tx>
              <c:showLegendKey val="0"/>
              <c:showVal val="1"/>
              <c:showCatName val="0"/>
              <c:showSerName val="0"/>
              <c:showPercent val="0"/>
              <c:showBubbleSize val="0"/>
            </c:dLbl>
            <c:dLbl>
              <c:idx val="2"/>
              <c:tx>
                <c:rich>
                  <a:bodyPr/>
                  <a:lstStyle/>
                  <a:p>
                    <a:r>
                      <a:rPr sz="800">
                        <a:solidFill>
                          <a:srgbClr val="FFFFFF"/>
                        </a:solidFill>
                        <a:latin typeface="Nexa Book"/>
                      </a:rPr>
                      <a:t>8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082760432632</c:v>
                </c:pt>
                <c:pt idx="1">
                  <c:v>0.9461091234347049</c:v>
                </c:pt>
                <c:pt idx="2">
                  <c:v>0.8455806783144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99172395673687</c:v>
                </c:pt>
                <c:pt idx="1">
                  <c:v>0.05389087656529517</c:v>
                </c:pt>
                <c:pt idx="2">
                  <c:v>0.154419321685508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09138840070299</c:v>
                </c:pt>
                <c:pt idx="1">
                  <c:v>0.9566003616636528</c:v>
                </c:pt>
                <c:pt idx="2">
                  <c:v>0.87362637362637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908611599297014</c:v>
                </c:pt>
                <c:pt idx="1">
                  <c:v>0.0433996383363472</c:v>
                </c:pt>
                <c:pt idx="2">
                  <c:v>0.126373626373626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7%</a:t>
                    </a:r>
                  </a:p>
                </c:rich>
              </c:tx>
              <c:showLegendKey val="0"/>
              <c:showVal val="1"/>
              <c:showCatName val="0"/>
              <c:showSerName val="0"/>
              <c:showPercent val="0"/>
              <c:showBubbleSize val="0"/>
            </c:dLbl>
            <c:dLbl>
              <c:idx val="2"/>
              <c:tx>
                <c:rich>
                  <a:bodyPr/>
                  <a:lstStyle/>
                  <a:p>
                    <a:r>
                      <a:rPr sz="800">
                        <a:solidFill>
                          <a:srgbClr val="FFFFFF"/>
                        </a:solidFill>
                        <a:latin typeface="Nexa Book"/>
                      </a:rPr>
                      <a:t>8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0271493212669</c:v>
                </c:pt>
                <c:pt idx="1">
                  <c:v>0.967567214826416</c:v>
                </c:pt>
                <c:pt idx="2">
                  <c:v>0.8103404471544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97285067873303</c:v>
                </c:pt>
                <c:pt idx="1">
                  <c:v>0.03243278517358392</c:v>
                </c:pt>
                <c:pt idx="2">
                  <c:v>0.189659552845528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81663516068053</c:v>
                </c:pt>
                <c:pt idx="1">
                  <c:v>0.9752747252747253</c:v>
                </c:pt>
                <c:pt idx="2">
                  <c:v>0.82584269662921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3364839319471</c:v>
                </c:pt>
                <c:pt idx="1">
                  <c:v>0.024725274725274728</c:v>
                </c:pt>
                <c:pt idx="2">
                  <c:v>0.174157303370786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57</c:v>
                </c:pt>
                <c:pt idx="1">
                  <c:v>0.016321</c:v>
                </c:pt>
                <c:pt idx="2">
                  <c:v>0.0045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736</c:v>
                </c:pt>
                <c:pt idx="1">
                  <c:v>0.009472</c:v>
                </c:pt>
                <c:pt idx="2">
                  <c:v>0.0025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762</c:v>
                </c:pt>
                <c:pt idx="1">
                  <c:v>0.018822</c:v>
                </c:pt>
                <c:pt idx="2">
                  <c:v>0.0068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92</c:v>
                </c:pt>
                <c:pt idx="1">
                  <c:v>0.009447</c:v>
                </c:pt>
                <c:pt idx="2">
                  <c:v>0.00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4845</c:v>
                </c:pt>
                <c:pt idx="1">
                  <c:v>0.004258</c:v>
                </c:pt>
                <c:pt idx="2">
                  <c:v>0.0015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4521</c:v>
                </c:pt>
                <c:pt idx="1">
                  <c:v>0.004266</c:v>
                </c:pt>
                <c:pt idx="2">
                  <c:v>0.00141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1</c:v>
                </c:pt>
                <c:pt idx="1">
                  <c:v>0.002826</c:v>
                </c:pt>
                <c:pt idx="2">
                  <c:v>0.00089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27</c:v>
                </c:pt>
                <c:pt idx="1">
                  <c:v>0.003931</c:v>
                </c:pt>
                <c:pt idx="2">
                  <c:v>0.0010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911</c:v>
                </c:pt>
                <c:pt idx="1">
                  <c:v>0.00381</c:v>
                </c:pt>
                <c:pt idx="2">
                  <c:v>0.00124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192</c:v>
                </c:pt>
                <c:pt idx="1">
                  <c:v>0.009432</c:v>
                </c:pt>
                <c:pt idx="2">
                  <c:v>0.0031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9%</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5452987791819</c:v>
                </c:pt>
                <c:pt idx="1">
                  <c:v>0.9051027838692938</c:v>
                </c:pt>
                <c:pt idx="2">
                  <c:v>0.72046021465181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45470122081816</c:v>
                </c:pt>
                <c:pt idx="1">
                  <c:v>0.09489721613070626</c:v>
                </c:pt>
                <c:pt idx="2">
                  <c:v>0.27953978534818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113475177305</c:v>
                </c:pt>
                <c:pt idx="1">
                  <c:v>0.9309196107653196</c:v>
                </c:pt>
                <c:pt idx="2">
                  <c:v>0.779349593495934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88652482269503</c:v>
                </c:pt>
                <c:pt idx="1">
                  <c:v>0.06908038923468046</c:v>
                </c:pt>
                <c:pt idx="2">
                  <c:v>0.220650406504065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19302558794035</c:v>
                </c:pt>
                <c:pt idx="1">
                  <c:v>0.9002946189491046</c:v>
                </c:pt>
                <c:pt idx="2">
                  <c:v>0.69456519693633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6974412059651</c:v>
                </c:pt>
                <c:pt idx="1">
                  <c:v>0.09970538105089548</c:v>
                </c:pt>
                <c:pt idx="2">
                  <c:v>0.30543480306366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2821</c:v>
                </c:pt>
                <c:pt idx="1">
                  <c:v>1.233754</c:v>
                </c:pt>
                <c:pt idx="2">
                  <c:v>0.3490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04</c:v>
                </c:pt>
                <c:pt idx="1">
                  <c:v>0.622014</c:v>
                </c:pt>
                <c:pt idx="2">
                  <c:v>0.1744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2467</c:v>
                </c:pt>
                <c:pt idx="1">
                  <c:v>0.552972</c:v>
                </c:pt>
                <c:pt idx="2">
                  <c:v>0.2023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2628</c:v>
                </c:pt>
                <c:pt idx="1">
                  <c:v>0.421545</c:v>
                </c:pt>
                <c:pt idx="2">
                  <c:v>0.1023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95262</c:v>
                </c:pt>
                <c:pt idx="1">
                  <c:v>0.256422</c:v>
                </c:pt>
                <c:pt idx="2">
                  <c:v>0.0913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8685</c:v>
                </c:pt>
                <c:pt idx="1">
                  <c:v>0.264009</c:v>
                </c:pt>
                <c:pt idx="2">
                  <c:v>0.091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9503</c:v>
                </c:pt>
                <c:pt idx="1">
                  <c:v>0.173396</c:v>
                </c:pt>
                <c:pt idx="2">
                  <c:v>0.0547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79751</c:v>
                </c:pt>
                <c:pt idx="1">
                  <c:v>0.165767</c:v>
                </c:pt>
                <c:pt idx="2">
                  <c:v>0.04671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79208</c:v>
                </c:pt>
                <c:pt idx="1">
                  <c:v>0.152284</c:v>
                </c:pt>
                <c:pt idx="2">
                  <c:v>0.05042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9816</c:v>
                </c:pt>
                <c:pt idx="1">
                  <c:v>0.523861</c:v>
                </c:pt>
                <c:pt idx="2">
                  <c:v>0.1810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00283545230037</c:v>
                </c:pt>
                <c:pt idx="1">
                  <c:v>0.9271442986881937</c:v>
                </c:pt>
                <c:pt idx="2">
                  <c:v>0.753747323340471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7164547699625</c:v>
                </c:pt>
                <c:pt idx="1">
                  <c:v>0.07285570131180626</c:v>
                </c:pt>
                <c:pt idx="2">
                  <c:v>0.24625267665952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9457602012754</c:v>
                </c:pt>
                <c:pt idx="1">
                  <c:v>0.493855843755105</c:v>
                </c:pt>
                <c:pt idx="2">
                  <c:v>0.47865468093105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0542397987246</c:v>
                </c:pt>
                <c:pt idx="1">
                  <c:v>0.5061441562448951</c:v>
                </c:pt>
                <c:pt idx="2">
                  <c:v>0.52134531906894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670542635658914</c:v>
                </c:pt>
                <c:pt idx="1">
                  <c:v>0.26280623608017817</c:v>
                </c:pt>
                <c:pt idx="2">
                  <c:v>0.2537764350453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3294573643411</c:v>
                </c:pt>
                <c:pt idx="1">
                  <c:v>0.7371937639198218</c:v>
                </c:pt>
                <c:pt idx="2">
                  <c:v>0.7462235649546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98481247230392</c:v>
                </c:pt>
                <c:pt idx="1">
                  <c:v>0.5241189738828973</c:v>
                </c:pt>
                <c:pt idx="2">
                  <c:v>0.5596237961270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19130541922500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7927325464287</c:v>
                </c:pt>
                <c:pt idx="1">
                  <c:v>0.18037554667498312</c:v>
                </c:pt>
                <c:pt idx="2">
                  <c:v>0.22124566195042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7447</c:v>
                </c:pt>
                <c:pt idx="1">
                  <c:v>0.479273</c:v>
                </c:pt>
                <c:pt idx="2">
                  <c:v>0.1363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7561</c:v>
                </c:pt>
                <c:pt idx="1">
                  <c:v>0.242688</c:v>
                </c:pt>
                <c:pt idx="2">
                  <c:v>0.0765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8331</c:v>
                </c:pt>
                <c:pt idx="1">
                  <c:v>0.230433</c:v>
                </c:pt>
                <c:pt idx="2">
                  <c:v>0.08215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8687</c:v>
                </c:pt>
                <c:pt idx="1">
                  <c:v>0.158902</c:v>
                </c:pt>
                <c:pt idx="2">
                  <c:v>0.0479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67</c:v>
                </c:pt>
                <c:pt idx="1">
                  <c:v>0.114454</c:v>
                </c:pt>
                <c:pt idx="2">
                  <c:v>0.0404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13525</c:v>
                </c:pt>
                <c:pt idx="1">
                  <c:v>0.102539</c:v>
                </c:pt>
                <c:pt idx="2">
                  <c:v>0.03553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39</c:v>
                </c:pt>
                <c:pt idx="1">
                  <c:v>0.080119</c:v>
                </c:pt>
                <c:pt idx="2">
                  <c:v>0.0297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96071</c:v>
                </c:pt>
                <c:pt idx="1">
                  <c:v>0.078087</c:v>
                </c:pt>
                <c:pt idx="2">
                  <c:v>0.02477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2298</c:v>
                </c:pt>
                <c:pt idx="1">
                  <c:v>0.06757</c:v>
                </c:pt>
                <c:pt idx="2">
                  <c:v>0.02830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52017</c:v>
                </c:pt>
                <c:pt idx="1">
                  <c:v>0.550474</c:v>
                </c:pt>
                <c:pt idx="2">
                  <c:v>0.195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894736842105265</c:v>
                </c:pt>
                <c:pt idx="1">
                  <c:v>0.3322314049586777</c:v>
                </c:pt>
                <c:pt idx="2">
                  <c:v>0.38356164383561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17763157894737</c:v>
                </c:pt>
                <c:pt idx="1">
                  <c:v>0.434710743801653</c:v>
                </c:pt>
                <c:pt idx="2">
                  <c:v>0.456621004566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46457660980483</c:v>
                </c:pt>
                <c:pt idx="1">
                  <c:v>0.5497794219708994</c:v>
                </c:pt>
                <c:pt idx="2">
                  <c:v>0.50553086735509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53542339019517</c:v>
                </c:pt>
                <c:pt idx="1">
                  <c:v>0.4502205780291007</c:v>
                </c:pt>
                <c:pt idx="2">
                  <c:v>0.49446913264490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253829321663</c:v>
                </c:pt>
                <c:pt idx="1">
                  <c:v>0.2918108419838524</c:v>
                </c:pt>
                <c:pt idx="2">
                  <c:v>0.27192982456140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7746170678337</c:v>
                </c:pt>
                <c:pt idx="1">
                  <c:v>0.7081891580161477</c:v>
                </c:pt>
                <c:pt idx="2">
                  <c:v>0.72807017543859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244508897549777</c:v>
                </c:pt>
                <c:pt idx="1">
                  <c:v>0.4830097087378641</c:v>
                </c:pt>
                <c:pt idx="2">
                  <c:v>0.49941319851945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75549110245022</c:v>
                </c:pt>
                <c:pt idx="1">
                  <c:v>0.5169902912621359</c:v>
                </c:pt>
                <c:pt idx="2">
                  <c:v>0.500586801480545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6326530612245</c:v>
                </c:pt>
                <c:pt idx="1">
                  <c:v>0.2628398791540785</c:v>
                </c:pt>
                <c:pt idx="2">
                  <c:v>0.27343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933673469387754</c:v>
                </c:pt>
                <c:pt idx="1">
                  <c:v>0.7371601208459213</c:v>
                </c:pt>
                <c:pt idx="2">
                  <c:v>0.7265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95069173465768</c:v>
                </c:pt>
                <c:pt idx="1">
                  <c:v>0.6080081611833716</c:v>
                </c:pt>
                <c:pt idx="2">
                  <c:v>0.420365535248041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04930826534233</c:v>
                </c:pt>
                <c:pt idx="1">
                  <c:v>0.3919918388166284</c:v>
                </c:pt>
                <c:pt idx="2">
                  <c:v>0.57963446475195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176470588235294</c:v>
                </c:pt>
                <c:pt idx="1">
                  <c:v>0.3125</c:v>
                </c:pt>
                <c:pt idx="2">
                  <c:v>0.156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8235294117647</c:v>
                </c:pt>
                <c:pt idx="1">
                  <c:v>0.6875</c:v>
                </c:pt>
                <c:pt idx="2">
                  <c:v>0.84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794058371277153</c:v>
                </c:pt>
                <c:pt idx="1">
                  <c:v>0.38848239648790567</c:v>
                </c:pt>
                <c:pt idx="2">
                  <c:v>0.41070793311988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320594162872284</c:v>
                </c:pt>
                <c:pt idx="1">
                  <c:v>0.6115176035120944</c:v>
                </c:pt>
                <c:pt idx="2">
                  <c:v>0.589292066880113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11881188118812</c:v>
                </c:pt>
                <c:pt idx="1">
                  <c:v>0.15</c:v>
                </c:pt>
                <c:pt idx="2">
                  <c:v>0.163265306122448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18811881188119</c:v>
                </c:pt>
                <c:pt idx="1">
                  <c:v>0.8500000000000001</c:v>
                </c:pt>
                <c:pt idx="2">
                  <c:v>0.83673469387755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8602792184314</c:v>
                </c:pt>
                <c:pt idx="1">
                  <c:v>0.26559883152088287</c:v>
                </c:pt>
                <c:pt idx="2">
                  <c:v>0.27352802309542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58873507855075</c:v>
                </c:pt>
                <c:pt idx="1">
                  <c:v>0.009842688992926804</c:v>
                </c:pt>
                <c:pt idx="2">
                  <c:v>0.0091210834161378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315509857030178</c:v>
                </c:pt>
                <c:pt idx="1">
                  <c:v>0.7245584794861902</c:v>
                </c:pt>
                <c:pt idx="2">
                  <c:v>0.71735089348843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06830647856101</c:v>
                </c:pt>
                <c:pt idx="1">
                  <c:v>0.2780334451551233</c:v>
                </c:pt>
                <c:pt idx="2">
                  <c:v>0.286275978281220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30309624522197</c:v>
                </c:pt>
                <c:pt idx="1">
                  <c:v>0.01074919392360514</c:v>
                </c:pt>
                <c:pt idx="2">
                  <c:v>0.0099563908132060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160138389691679</c:v>
                </c:pt>
                <c:pt idx="1">
                  <c:v>0.7112173609212715</c:v>
                </c:pt>
                <c:pt idx="2">
                  <c:v>0.70376763090557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861200725465457</c:v>
                </c:pt>
                <c:pt idx="1">
                  <c:v>0.2974748801660292</c:v>
                </c:pt>
                <c:pt idx="2">
                  <c:v>0.25615550804838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4549838269503</c:v>
                </c:pt>
                <c:pt idx="1">
                  <c:v>0.605218377523055</c:v>
                </c:pt>
                <c:pt idx="2">
                  <c:v>0.63283281005642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178459374661908</c:v>
                </c:pt>
                <c:pt idx="1">
                  <c:v>0.1792088257460353</c:v>
                </c:pt>
                <c:pt idx="2">
                  <c:v>0.1507910212871697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64892350968301</c:v>
                </c:pt>
                <c:pt idx="1">
                  <c:v>0.6303417090261855</c:v>
                </c:pt>
                <c:pt idx="2">
                  <c:v>0.63720699080593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9287820778146</c:v>
                </c:pt>
                <c:pt idx="1">
                  <c:v>0.3611591566516566</c:v>
                </c:pt>
                <c:pt idx="2">
                  <c:v>0.3516081310613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97423427152317</c:v>
                </c:pt>
                <c:pt idx="1">
                  <c:v>0.15209271463931054</c:v>
                </c:pt>
                <c:pt idx="2">
                  <c:v>0.150347926141033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39374223923841</c:v>
                </c:pt>
                <c:pt idx="1">
                  <c:v>0.07749455759997614</c:v>
                </c:pt>
                <c:pt idx="2">
                  <c:v>0.0860007670812558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2215956125827814</c:v>
                </c:pt>
                <c:pt idx="1">
                  <c:v>0.4092535711090568</c:v>
                </c:pt>
                <c:pt idx="2">
                  <c:v>0.41204317571639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598430987987252</c:v>
                </c:pt>
                <c:pt idx="1">
                  <c:v>0.21982137712474792</c:v>
                </c:pt>
                <c:pt idx="2">
                  <c:v>0.212871287128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10149546457464</c:v>
                </c:pt>
                <c:pt idx="1">
                  <c:v>0.13857677902621723</c:v>
                </c:pt>
                <c:pt idx="2">
                  <c:v>0.138613861386138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518509438587888</c:v>
                </c:pt>
                <c:pt idx="1">
                  <c:v>0.15701526937481994</c:v>
                </c:pt>
                <c:pt idx="2">
                  <c:v>0.168316831683168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947291002696739</c:v>
                </c:pt>
                <c:pt idx="1">
                  <c:v>0.4845865744742149</c:v>
                </c:pt>
                <c:pt idx="2">
                  <c:v>0.480198019801980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9642183110018</c:v>
                </c:pt>
                <c:pt idx="1">
                  <c:v>0.3202117658700708</c:v>
                </c:pt>
                <c:pt idx="2">
                  <c:v>0.28226924700066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66454880058754</c:v>
                </c:pt>
                <c:pt idx="1">
                  <c:v>0.10689723417940725</c:v>
                </c:pt>
                <c:pt idx="2">
                  <c:v>0.12339482727437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13712328884106</c:v>
                </c:pt>
                <c:pt idx="1">
                  <c:v>0.572890999950522</c:v>
                </c:pt>
                <c:pt idx="2">
                  <c:v>0.59433592572496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6248821866164</c:v>
                </c:pt>
                <c:pt idx="1">
                  <c:v>0.19149736644093304</c:v>
                </c:pt>
                <c:pt idx="2">
                  <c:v>0.165198237885462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05183788878418</c:v>
                </c:pt>
                <c:pt idx="1">
                  <c:v>0.21519939804364183</c:v>
                </c:pt>
                <c:pt idx="2">
                  <c:v>0.25330396475770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86993402450519</c:v>
                </c:pt>
                <c:pt idx="1">
                  <c:v>0.5933032355154251</c:v>
                </c:pt>
                <c:pt idx="2">
                  <c:v>0.58149779735682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649100048646</c:v>
                </c:pt>
                <c:pt idx="1">
                  <c:v>0.31853611461658377</c:v>
                </c:pt>
                <c:pt idx="2">
                  <c:v>0.22518135744807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38333063077671</c:v>
                </c:pt>
                <c:pt idx="1">
                  <c:v>0.08596243782941133</c:v>
                </c:pt>
                <c:pt idx="2">
                  <c:v>0.090330915234025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99675693205773</c:v>
                </c:pt>
                <c:pt idx="1">
                  <c:v>0.5955014475540049</c:v>
                </c:pt>
                <c:pt idx="2">
                  <c:v>0.68448772731789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68817204301074</c:v>
                </c:pt>
                <c:pt idx="1">
                  <c:v>0.1731266149870801</c:v>
                </c:pt>
                <c:pt idx="2">
                  <c:v>0.13571428571428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3978494623656</c:v>
                </c:pt>
                <c:pt idx="1">
                  <c:v>0.14987080103359174</c:v>
                </c:pt>
                <c:pt idx="2">
                  <c:v>0.128571428571428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9139784946237</c:v>
                </c:pt>
                <c:pt idx="1">
                  <c:v>0.6770025839793281</c:v>
                </c:pt>
                <c:pt idx="2">
                  <c:v>0.73571428571428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63942198112777</c:v>
                </c:pt>
                <c:pt idx="1">
                  <c:v>0.2536458731007101</c:v>
                </c:pt>
                <c:pt idx="2">
                  <c:v>0.184166343794394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3622190819165</c:v>
                </c:pt>
                <c:pt idx="1">
                  <c:v>0.11472092845689853</c:v>
                </c:pt>
                <c:pt idx="2">
                  <c:v>0.199276766111326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3695582805306</c:v>
                </c:pt>
                <c:pt idx="1">
                  <c:v>0.6316331984423914</c:v>
                </c:pt>
                <c:pt idx="2">
                  <c:v>0.61655689009427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87116564417178</c:v>
                </c:pt>
                <c:pt idx="1">
                  <c:v>0.144</c:v>
                </c:pt>
                <c:pt idx="2">
                  <c:v>0.065573770491803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11656441717792</c:v>
                </c:pt>
                <c:pt idx="1">
                  <c:v>0.208</c:v>
                </c:pt>
                <c:pt idx="2">
                  <c:v>0.295081967213114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1717791411044</c:v>
                </c:pt>
                <c:pt idx="1">
                  <c:v>0.648</c:v>
                </c:pt>
                <c:pt idx="2">
                  <c:v>0.63934426229508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9575618700223</c:v>
                </c:pt>
                <c:pt idx="1">
                  <c:v>0.38104599811084566</c:v>
                </c:pt>
                <c:pt idx="2">
                  <c:v>0.3861979715318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1418294743017117</c:v>
                </c:pt>
                <c:pt idx="1">
                  <c:v>0.30545555452995954</c:v>
                </c:pt>
                <c:pt idx="2">
                  <c:v>0.29689150540737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8594906998065</c:v>
                </c:pt>
                <c:pt idx="1">
                  <c:v>0.31349844735919474</c:v>
                </c:pt>
                <c:pt idx="2">
                  <c:v>0.316910523060800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2</c:v>
                </c:pt>
                <c:pt idx="1">
                  <c:v>0.004251</c:v>
                </c:pt>
                <c:pt idx="2">
                  <c:v>0.0012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47</c:v>
                </c:pt>
                <c:pt idx="1">
                  <c:v>0.004939</c:v>
                </c:pt>
                <c:pt idx="2">
                  <c:v>0.002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82</c:v>
                </c:pt>
                <c:pt idx="1">
                  <c:v>0.002051</c:v>
                </c:pt>
                <c:pt idx="2">
                  <c:v>0.0006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809</c:v>
                </c:pt>
                <c:pt idx="1">
                  <c:v>0.002257</c:v>
                </c:pt>
                <c:pt idx="2">
                  <c:v>0.0006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13</c:v>
                </c:pt>
                <c:pt idx="1">
                  <c:v>0.001508</c:v>
                </c:pt>
                <c:pt idx="2">
                  <c:v>0.0005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83</c:v>
                </c:pt>
                <c:pt idx="1">
                  <c:v>0.00122</c:v>
                </c:pt>
                <c:pt idx="2">
                  <c:v>0.00050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005</c:v>
                </c:pt>
                <c:pt idx="1">
                  <c:v>0.001748</c:v>
                </c:pt>
                <c:pt idx="2">
                  <c:v>0.00070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87</c:v>
                </c:pt>
                <c:pt idx="1">
                  <c:v>0.001001</c:v>
                </c:pt>
                <c:pt idx="2">
                  <c:v>0.000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832</c:v>
                </c:pt>
                <c:pt idx="1">
                  <c:v>0.02481</c:v>
                </c:pt>
                <c:pt idx="2">
                  <c:v>0.009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0135670428185</c:v>
                </c:pt>
                <c:pt idx="1">
                  <c:v>0.38143061995862465</c:v>
                </c:pt>
                <c:pt idx="2">
                  <c:v>0.38808638360923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12998201529105</c:v>
                </c:pt>
                <c:pt idx="1">
                  <c:v>0.3155798819039939</c:v>
                </c:pt>
                <c:pt idx="2">
                  <c:v>0.31007525528149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1686612804271</c:v>
                </c:pt>
                <c:pt idx="1">
                  <c:v>0.3029894981373815</c:v>
                </c:pt>
                <c:pt idx="2">
                  <c:v>0.30183836110926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99</c:v>
                </c:pt>
                <c:pt idx="1">
                  <c:v>0.001524</c:v>
                </c:pt>
                <c:pt idx="2">
                  <c:v>0.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9</c:v>
                </c:pt>
                <c:pt idx="1">
                  <c:v>0.001454</c:v>
                </c:pt>
                <c:pt idx="2">
                  <c:v>0.0003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432</c:v>
                </c:pt>
                <c:pt idx="1">
                  <c:v>0.002621</c:v>
                </c:pt>
                <c:pt idx="2">
                  <c:v>0.000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5</c:v>
                </c:pt>
                <c:pt idx="1">
                  <c:v>0.001004</c:v>
                </c:pt>
                <c:pt idx="2">
                  <c:v>0.00029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896</c:v>
                </c:pt>
                <c:pt idx="1">
                  <c:v>0.000715</c:v>
                </c:pt>
                <c:pt idx="2">
                  <c:v>0.0002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127</c:v>
                </c:pt>
                <c:pt idx="1">
                  <c:v>0.000696</c:v>
                </c:pt>
                <c:pt idx="2">
                  <c:v>0.0002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487</c:v>
                </c:pt>
                <c:pt idx="1">
                  <c:v>0.000433</c:v>
                </c:pt>
                <c:pt idx="2">
                  <c:v>0.00014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83</c:v>
                </c:pt>
                <c:pt idx="1">
                  <c:v>0.000427</c:v>
                </c:pt>
                <c:pt idx="2">
                  <c:v>0.00014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627</c:v>
                </c:pt>
                <c:pt idx="1">
                  <c:v>0.000605</c:v>
                </c:pt>
                <c:pt idx="2">
                  <c:v>0.00011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93</c:v>
                </c:pt>
                <c:pt idx="1">
                  <c:v>0.001657</c:v>
                </c:pt>
                <c:pt idx="2">
                  <c:v>0.000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5348</c:v>
                </c:pt>
                <c:pt idx="1">
                  <c:v>0.114332</c:v>
                </c:pt>
                <c:pt idx="2">
                  <c:v>0.02630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64</c:v>
                </c:pt>
                <c:pt idx="1">
                  <c:v>0.063239</c:v>
                </c:pt>
                <c:pt idx="2">
                  <c:v>0.0150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252</c:v>
                </c:pt>
                <c:pt idx="1">
                  <c:v>0.076817</c:v>
                </c:pt>
                <c:pt idx="2">
                  <c:v>0.0274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829</c:v>
                </c:pt>
                <c:pt idx="1">
                  <c:v>0.066463</c:v>
                </c:pt>
                <c:pt idx="2">
                  <c:v>0.02097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6</c:v>
                </c:pt>
                <c:pt idx="1">
                  <c:v>0.042691</c:v>
                </c:pt>
                <c:pt idx="2">
                  <c:v>0.0128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5</c:v>
                </c:pt>
                <c:pt idx="1">
                  <c:v>0.027803</c:v>
                </c:pt>
                <c:pt idx="2">
                  <c:v>0.00851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956</c:v>
                </c:pt>
                <c:pt idx="1">
                  <c:v>0.024908</c:v>
                </c:pt>
                <c:pt idx="2">
                  <c:v>0.0086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4724</c:v>
                </c:pt>
                <c:pt idx="1">
                  <c:v>0.022632</c:v>
                </c:pt>
                <c:pt idx="2">
                  <c:v>0.00758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821</c:v>
                </c:pt>
                <c:pt idx="1">
                  <c:v>0.024282</c:v>
                </c:pt>
                <c:pt idx="2">
                  <c:v>0.0051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8906</c:v>
                </c:pt>
                <c:pt idx="1">
                  <c:v>0.085842</c:v>
                </c:pt>
                <c:pt idx="2">
                  <c:v>0.0261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310451521042687</c:v>
                </c:pt>
                <c:pt idx="1">
                  <c:v>0.2262595676675919</c:v>
                </c:pt>
                <c:pt idx="2">
                  <c:v>0.241924719701014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768954847895732</c:v>
                </c:pt>
                <c:pt idx="1">
                  <c:v>0.7737404323324081</c:v>
                </c:pt>
                <c:pt idx="2">
                  <c:v>0.75807528029898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87354577642892</c:v>
                </c:pt>
                <c:pt idx="1">
                  <c:v>0.26202928870292885</c:v>
                </c:pt>
                <c:pt idx="2">
                  <c:v>0.256926952141057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50126454223571</c:v>
                </c:pt>
                <c:pt idx="1">
                  <c:v>0.7379707112970711</c:v>
                </c:pt>
                <c:pt idx="2">
                  <c:v>0.7430730478589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356726963714442</c:v>
                </c:pt>
                <c:pt idx="1">
                  <c:v>0.201836901716764</c:v>
                </c:pt>
                <c:pt idx="2">
                  <c:v>0.200017017714323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2706314209877</c:v>
                </c:pt>
                <c:pt idx="1">
                  <c:v>0.1914687474567234</c:v>
                </c:pt>
                <c:pt idx="2">
                  <c:v>0.195946318442812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928634370990123</c:v>
                </c:pt>
                <c:pt idx="1">
                  <c:v>0.16545892720822328</c:v>
                </c:pt>
                <c:pt idx="2">
                  <c:v>0.1612908052957997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34975303774052</c:v>
                </c:pt>
                <c:pt idx="1">
                  <c:v>0.11015797661541957</c:v>
                </c:pt>
                <c:pt idx="2">
                  <c:v>0.1172440247532845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216658045727934</c:v>
                </c:pt>
                <c:pt idx="1">
                  <c:v>0.0955147328764119</c:v>
                </c:pt>
                <c:pt idx="2">
                  <c:v>0.0990805154599365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42116443972821</c:v>
                </c:pt>
                <c:pt idx="1">
                  <c:v>0.23556271412645785</c:v>
                </c:pt>
                <c:pt idx="2">
                  <c:v>0.2264213183338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30503951252321</c:v>
                </c:pt>
                <c:pt idx="1">
                  <c:v>0.17467205996272495</c:v>
                </c:pt>
                <c:pt idx="2">
                  <c:v>0.174161941357354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472777433953475</c:v>
                </c:pt>
                <c:pt idx="1">
                  <c:v>0.2315317062840167</c:v>
                </c:pt>
                <c:pt idx="2">
                  <c:v>0.238843936035385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25655984648652</c:v>
                </c:pt>
                <c:pt idx="1">
                  <c:v>0.17433337508870278</c:v>
                </c:pt>
                <c:pt idx="2">
                  <c:v>0.1657781991143516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516313607518985</c:v>
                </c:pt>
                <c:pt idx="1">
                  <c:v>0.10082062766925359</c:v>
                </c:pt>
                <c:pt idx="2">
                  <c:v>0.1068214868187854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815329340212602</c:v>
                </c:pt>
                <c:pt idx="1">
                  <c:v>0.09081103137886455</c:v>
                </c:pt>
                <c:pt idx="2">
                  <c:v>0.093667790978909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3408515820576098</c:v>
                </c:pt>
                <c:pt idx="1">
                  <c:v>0.2278311996164374</c:v>
                </c:pt>
                <c:pt idx="2">
                  <c:v>0.220726645695213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3987</c:v>
                </c:pt>
                <c:pt idx="1">
                  <c:v>0.38896</c:v>
                </c:pt>
                <c:pt idx="2">
                  <c:v>0.1151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0014</c:v>
                </c:pt>
                <c:pt idx="1">
                  <c:v>0.154783</c:v>
                </c:pt>
                <c:pt idx="2">
                  <c:v>0.065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8343</c:v>
                </c:pt>
                <c:pt idx="1">
                  <c:v>0.150198</c:v>
                </c:pt>
                <c:pt idx="2">
                  <c:v>0.05304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928</c:v>
                </c:pt>
                <c:pt idx="1">
                  <c:v>0.114337</c:v>
                </c:pt>
                <c:pt idx="2">
                  <c:v>0.0309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9368</c:v>
                </c:pt>
                <c:pt idx="1">
                  <c:v>0.099013</c:v>
                </c:pt>
                <c:pt idx="2">
                  <c:v>0.03833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6625</c:v>
                </c:pt>
                <c:pt idx="1">
                  <c:v>0.07142</c:v>
                </c:pt>
                <c:pt idx="2">
                  <c:v>0.02842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0629</c:v>
                </c:pt>
                <c:pt idx="1">
                  <c:v>0.074419</c:v>
                </c:pt>
                <c:pt idx="2">
                  <c:v>0.02994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2928</c:v>
                </c:pt>
                <c:pt idx="1">
                  <c:v>0.065778</c:v>
                </c:pt>
                <c:pt idx="2">
                  <c:v>0.02563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63155</c:v>
                </c:pt>
                <c:pt idx="1">
                  <c:v>0.731809</c:v>
                </c:pt>
                <c:pt idx="2">
                  <c:v>0.2777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547337877402603</c:v>
                </c:pt>
                <c:pt idx="1">
                  <c:v>0.3822272056400994</c:v>
                </c:pt>
                <c:pt idx="2">
                  <c:v>0.3900325569484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0555595309587</c:v>
                </c:pt>
                <c:pt idx="1">
                  <c:v>0.16723363676323638</c:v>
                </c:pt>
                <c:pt idx="2">
                  <c:v>0.172062972338388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6147106169501523</c:v>
                </c:pt>
                <c:pt idx="1">
                  <c:v>0.45053915759666424</c:v>
                </c:pt>
                <c:pt idx="2">
                  <c:v>0.437904470713193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88169686729456</c:v>
                </c:pt>
                <c:pt idx="1">
                  <c:v>0.37855245873927423</c:v>
                </c:pt>
                <c:pt idx="2">
                  <c:v>0.39001375162864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05808352759864</c:v>
                </c:pt>
                <c:pt idx="1">
                  <c:v>0.15820215274763386</c:v>
                </c:pt>
                <c:pt idx="2">
                  <c:v>0.16897583583079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21249477994558</c:v>
                </c:pt>
                <c:pt idx="1">
                  <c:v>0.46324538851309194</c:v>
                </c:pt>
                <c:pt idx="2">
                  <c:v>0.44101041254055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41</c:v>
                </c:pt>
                <c:pt idx="1">
                  <c:v>0.026868</c:v>
                </c:pt>
                <c:pt idx="2">
                  <c:v>0.0075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013</c:v>
                </c:pt>
                <c:pt idx="1">
                  <c:v>0.017562</c:v>
                </c:pt>
                <c:pt idx="2">
                  <c:v>0.0052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612</c:v>
                </c:pt>
                <c:pt idx="1">
                  <c:v>0.017822</c:v>
                </c:pt>
                <c:pt idx="2">
                  <c:v>0.00537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06</c:v>
                </c:pt>
                <c:pt idx="1">
                  <c:v>0.029904</c:v>
                </c:pt>
                <c:pt idx="2">
                  <c:v>0.01207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25</c:v>
                </c:pt>
                <c:pt idx="1">
                  <c:v>0.009167</c:v>
                </c:pt>
                <c:pt idx="2">
                  <c:v>0.00346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7</c:v>
                </c:pt>
                <c:pt idx="1">
                  <c:v>0.00688</c:v>
                </c:pt>
                <c:pt idx="2">
                  <c:v>0.0030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246</c:v>
                </c:pt>
                <c:pt idx="1">
                  <c:v>0.009119</c:v>
                </c:pt>
                <c:pt idx="2">
                  <c:v>0.00309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095</c:v>
                </c:pt>
                <c:pt idx="1">
                  <c:v>0.007431</c:v>
                </c:pt>
                <c:pt idx="2">
                  <c:v>0.00323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1</c:v>
                </c:pt>
                <c:pt idx="1">
                  <c:v>0.008816</c:v>
                </c:pt>
                <c:pt idx="2">
                  <c:v>0.00269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663</c:v>
                </c:pt>
                <c:pt idx="1">
                  <c:v>0.024249</c:v>
                </c:pt>
                <c:pt idx="2">
                  <c:v>0.0084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53216</c:v>
                </c:pt>
                <c:pt idx="1">
                  <c:v>1.99845</c:v>
                </c:pt>
                <c:pt idx="2">
                  <c:v>0.5728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20086</c:v>
                </c:pt>
                <c:pt idx="1">
                  <c:v>1.146345</c:v>
                </c:pt>
                <c:pt idx="2">
                  <c:v>0.3634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98015</c:v>
                </c:pt>
                <c:pt idx="1">
                  <c:v>0.801285</c:v>
                </c:pt>
                <c:pt idx="2">
                  <c:v>0.2341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57515</c:v>
                </c:pt>
                <c:pt idx="1">
                  <c:v>0.889113</c:v>
                </c:pt>
                <c:pt idx="2">
                  <c:v>0.3632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738</c:v>
                </c:pt>
                <c:pt idx="1">
                  <c:v>0.544112</c:v>
                </c:pt>
                <c:pt idx="2">
                  <c:v>0.20797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72355</c:v>
                </c:pt>
                <c:pt idx="1">
                  <c:v>0.409591</c:v>
                </c:pt>
                <c:pt idx="2">
                  <c:v>0.17685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4912</c:v>
                </c:pt>
                <c:pt idx="1">
                  <c:v>0.364365</c:v>
                </c:pt>
                <c:pt idx="2">
                  <c:v>0.1266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64777</c:v>
                </c:pt>
                <c:pt idx="1">
                  <c:v>0.381519</c:v>
                </c:pt>
                <c:pt idx="2">
                  <c:v>0.16385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96216</c:v>
                </c:pt>
                <c:pt idx="1">
                  <c:v>0.370178</c:v>
                </c:pt>
                <c:pt idx="2">
                  <c:v>0.11665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28328</c:v>
                </c:pt>
                <c:pt idx="1">
                  <c:v>1.317574</c:v>
                </c:pt>
                <c:pt idx="2">
                  <c:v>0.48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835</c:v>
                </c:pt>
                <c:pt idx="1">
                  <c:v>0.024185</c:v>
                </c:pt>
                <c:pt idx="2">
                  <c:v>0.0071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7616</c:v>
                </c:pt>
                <c:pt idx="1">
                  <c:v>0.015045</c:v>
                </c:pt>
                <c:pt idx="2">
                  <c:v>0.0049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732</c:v>
                </c:pt>
                <c:pt idx="1">
                  <c:v>0.017109</c:v>
                </c:pt>
                <c:pt idx="2">
                  <c:v>0.00479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909</c:v>
                </c:pt>
                <c:pt idx="1">
                  <c:v>0.028674</c:v>
                </c:pt>
                <c:pt idx="2">
                  <c:v>0.01263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14</c:v>
                </c:pt>
                <c:pt idx="1">
                  <c:v>0.009308</c:v>
                </c:pt>
                <c:pt idx="2">
                  <c:v>0.0034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171</c:v>
                </c:pt>
                <c:pt idx="1">
                  <c:v>0.005947</c:v>
                </c:pt>
                <c:pt idx="2">
                  <c:v>0.0027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513</c:v>
                </c:pt>
                <c:pt idx="1">
                  <c:v>0.008715</c:v>
                </c:pt>
                <c:pt idx="2">
                  <c:v>0.0025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821</c:v>
                </c:pt>
                <c:pt idx="1">
                  <c:v>0.008139</c:v>
                </c:pt>
                <c:pt idx="2">
                  <c:v>0.0028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254</c:v>
                </c:pt>
                <c:pt idx="1">
                  <c:v>0.005081</c:v>
                </c:pt>
                <c:pt idx="2">
                  <c:v>0.00193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7456</c:v>
                </c:pt>
                <c:pt idx="1">
                  <c:v>0.022658</c:v>
                </c:pt>
                <c:pt idx="2">
                  <c:v>0.0077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525157318469006</c:v>
                </c:pt>
                <c:pt idx="1">
                  <c:v>0.320630454085747</c:v>
                </c:pt>
                <c:pt idx="2">
                  <c:v>0.315208062662701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51886866727404</c:v>
                </c:pt>
                <c:pt idx="1">
                  <c:v>0.27379750891346427</c:v>
                </c:pt>
                <c:pt idx="2">
                  <c:v>0.27646993478863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76884883690486</c:v>
                </c:pt>
                <c:pt idx="1">
                  <c:v>0.15385967745951717</c:v>
                </c:pt>
                <c:pt idx="2">
                  <c:v>0.162178742246667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46070931113096</c:v>
                </c:pt>
                <c:pt idx="1">
                  <c:v>0.2517123595412716</c:v>
                </c:pt>
                <c:pt idx="2">
                  <c:v>0.246143260301999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732665519118855</c:v>
                </c:pt>
                <c:pt idx="1">
                  <c:v>0.337382590443928</c:v>
                </c:pt>
                <c:pt idx="2">
                  <c:v>0.325154318191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19289635596806</c:v>
                </c:pt>
                <c:pt idx="1">
                  <c:v>0.23210911689570057</c:v>
                </c:pt>
                <c:pt idx="2">
                  <c:v>0.23937633465935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39108555492557</c:v>
                </c:pt>
                <c:pt idx="1">
                  <c:v>0.14488309835815516</c:v>
                </c:pt>
                <c:pt idx="2">
                  <c:v>0.152862420941249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808936289791787</c:v>
                </c:pt>
                <c:pt idx="1">
                  <c:v>0.2856251943022163</c:v>
                </c:pt>
                <c:pt idx="2">
                  <c:v>0.28260692620768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9121</c:v>
                </c:pt>
                <c:pt idx="1">
                  <c:v>1.799149</c:v>
                </c:pt>
                <c:pt idx="2">
                  <c:v>0.536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25537</c:v>
                </c:pt>
                <c:pt idx="1">
                  <c:v>0.982129</c:v>
                </c:pt>
                <c:pt idx="2">
                  <c:v>0.3357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3444</c:v>
                </c:pt>
                <c:pt idx="1">
                  <c:v>0.766915</c:v>
                </c:pt>
                <c:pt idx="2">
                  <c:v>0.209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08918</c:v>
                </c:pt>
                <c:pt idx="1">
                  <c:v>0.849667</c:v>
                </c:pt>
                <c:pt idx="2">
                  <c:v>0.3770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9776</c:v>
                </c:pt>
                <c:pt idx="1">
                  <c:v>0.546078</c:v>
                </c:pt>
                <c:pt idx="2">
                  <c:v>0.21062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9251</c:v>
                </c:pt>
                <c:pt idx="1">
                  <c:v>0.354518</c:v>
                </c:pt>
                <c:pt idx="2">
                  <c:v>0.1604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8903</c:v>
                </c:pt>
                <c:pt idx="1">
                  <c:v>0.363317</c:v>
                </c:pt>
                <c:pt idx="2">
                  <c:v>0.11514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9439</c:v>
                </c:pt>
                <c:pt idx="1">
                  <c:v>0.325445</c:v>
                </c:pt>
                <c:pt idx="2">
                  <c:v>0.11581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70422</c:v>
                </c:pt>
                <c:pt idx="1">
                  <c:v>0.311202</c:v>
                </c:pt>
                <c:pt idx="2">
                  <c:v>0.11738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07737</c:v>
                </c:pt>
                <c:pt idx="1">
                  <c:v>1.188432</c:v>
                </c:pt>
                <c:pt idx="2">
                  <c:v>0.429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103</c:v>
                </c:pt>
                <c:pt idx="1">
                  <c:v>0.003452</c:v>
                </c:pt>
                <c:pt idx="2">
                  <c:v>0.0016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65</c:v>
                </c:pt>
                <c:pt idx="1">
                  <c:v>0.000249</c:v>
                </c:pt>
                <c:pt idx="2">
                  <c:v>2.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04</c:v>
                </c:pt>
                <c:pt idx="1">
                  <c:v>0.001288</c:v>
                </c:pt>
                <c:pt idx="2">
                  <c:v>0.0004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98098724074083</c:v>
                </c:pt>
                <c:pt idx="1">
                  <c:v>0.9305735024327989</c:v>
                </c:pt>
                <c:pt idx="2">
                  <c:v>0.90985215245123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15698328532004</c:v>
                </c:pt>
                <c:pt idx="1">
                  <c:v>0.0626183311557083</c:v>
                </c:pt>
                <c:pt idx="2">
                  <c:v>0.075942058404846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033144307271617</c:v>
                </c:pt>
                <c:pt idx="1">
                  <c:v>0.006808166411492778</c:v>
                </c:pt>
                <c:pt idx="2">
                  <c:v>0.01420578914391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984999466805692</c:v>
                </c:pt>
                <c:pt idx="1">
                  <c:v>0.777669778154129</c:v>
                </c:pt>
                <c:pt idx="2">
                  <c:v>0.73936604688337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7415547946017</c:v>
                </c:pt>
                <c:pt idx="1">
                  <c:v>0.2065608123914741</c:v>
                </c:pt>
                <c:pt idx="2">
                  <c:v>0.23185223569916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758498524829082</c:v>
                </c:pt>
                <c:pt idx="1">
                  <c:v>0.015769409454396883</c:v>
                </c:pt>
                <c:pt idx="2">
                  <c:v>0.0287817174174622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5%</a:t>
                    </a:r>
                  </a:p>
                </c:rich>
              </c:tx>
              <c:showLegendKey val="0"/>
              <c:showVal val="1"/>
              <c:showCatName val="0"/>
              <c:showSerName val="0"/>
              <c:showPercent val="0"/>
              <c:showBubbleSize val="0"/>
            </c:dLbl>
            <c:dLbl>
              <c:idx val="1"/>
              <c:tx>
                <c:rich>
                  <a:bodyPr/>
                  <a:lstStyle/>
                  <a:p>
                    <a:r>
                      <a:rPr sz="800">
                        <a:solidFill>
                          <a:srgbClr val="FFFFFF"/>
                        </a:solidFill>
                        <a:latin typeface="Nexa Book"/>
                      </a:rPr>
                      <a:t>94%</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67275489842315</c:v>
                </c:pt>
                <c:pt idx="1">
                  <c:v>0.9374716019886999</c:v>
                </c:pt>
                <c:pt idx="2">
                  <c:v>0.9240815348218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74362273274141</c:v>
                </c:pt>
                <c:pt idx="1">
                  <c:v>0.0566589854335721</c:v>
                </c:pt>
                <c:pt idx="2">
                  <c:v>0.064536909494690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288282830270335</c:v>
                </c:pt>
                <c:pt idx="1">
                  <c:v>0.005869412577727931</c:v>
                </c:pt>
                <c:pt idx="2">
                  <c:v>0.01138155568345408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919</c:v>
                </c:pt>
                <c:pt idx="1">
                  <c:v>0.137311</c:v>
                </c:pt>
                <c:pt idx="2">
                  <c:v>0.0671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4</c:v>
                </c:pt>
                <c:pt idx="1">
                  <c:v>0.010687</c:v>
                </c:pt>
                <c:pt idx="2">
                  <c:v>0.00127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6146</c:v>
                </c:pt>
                <c:pt idx="1">
                  <c:v>0.053055</c:v>
                </c:pt>
                <c:pt idx="2">
                  <c:v>0.0175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69813025980723</c:v>
                </c:pt>
                <c:pt idx="1">
                  <c:v>0.7881878709857809</c:v>
                </c:pt>
                <c:pt idx="2">
                  <c:v>0.765017177106936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8728449077889</c:v>
                </c:pt>
                <c:pt idx="1">
                  <c:v>0.19832703252150916</c:v>
                </c:pt>
                <c:pt idx="2">
                  <c:v>0.212659893282654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290248324038681</c:v>
                </c:pt>
                <c:pt idx="1">
                  <c:v>0.013485096492709892</c:v>
                </c:pt>
                <c:pt idx="2">
                  <c:v>0.02232292961040859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35</c:v>
                </c:pt>
                <c:pt idx="1">
                  <c:v>0.001842</c:v>
                </c:pt>
                <c:pt idx="2">
                  <c:v>0.0007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93</c:v>
                </c:pt>
                <c:pt idx="1">
                  <c:v>0.000159</c:v>
                </c:pt>
                <c:pt idx="2">
                  <c:v>1.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93</c:v>
                </c:pt>
                <c:pt idx="1">
                  <c:v>0.00077</c:v>
                </c:pt>
                <c:pt idx="2">
                  <c:v>0.0002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82686964063683</c:v>
                </c:pt>
                <c:pt idx="1">
                  <c:v>0.9042418830321001</c:v>
                </c:pt>
                <c:pt idx="2">
                  <c:v>0.89678613375093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2445520136114</c:v>
                </c:pt>
                <c:pt idx="1">
                  <c:v>0.08920481335699947</c:v>
                </c:pt>
                <c:pt idx="2">
                  <c:v>0.0864463235555816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4867515800203153</c:v>
                </c:pt>
                <c:pt idx="1">
                  <c:v>0.006553303610900448</c:v>
                </c:pt>
                <c:pt idx="2">
                  <c:v>0.0167675426934841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9344921520301</c:v>
                </c:pt>
                <c:pt idx="1">
                  <c:v>0.6776796536796537</c:v>
                </c:pt>
                <c:pt idx="2">
                  <c:v>0.67811202268813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916331560513687</c:v>
                </c:pt>
                <c:pt idx="1">
                  <c:v>0.30912554112554114</c:v>
                </c:pt>
                <c:pt idx="2">
                  <c:v>0.29119821736047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902192242833052</c:v>
                </c:pt>
                <c:pt idx="1">
                  <c:v>0.013194805194805195</c:v>
                </c:pt>
                <c:pt idx="2">
                  <c:v>0.030689759951382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4%</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49408877235594</c:v>
                </c:pt>
                <c:pt idx="1">
                  <c:v>0.9358132000339379</c:v>
                </c:pt>
                <c:pt idx="2">
                  <c:v>0.917645987664909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949371795624776</c:v>
                </c:pt>
                <c:pt idx="1">
                  <c:v>0.056927318564252836</c:v>
                </c:pt>
                <c:pt idx="2">
                  <c:v>0.0677424564251300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097404808157576</c:v>
                </c:pt>
                <c:pt idx="1">
                  <c:v>0.007259481401809294</c:v>
                </c:pt>
                <c:pt idx="2">
                  <c:v>0.0146115559099600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06376161486702</c:v>
                </c:pt>
                <c:pt idx="1">
                  <c:v>0.7887139788417125</c:v>
                </c:pt>
                <c:pt idx="2">
                  <c:v>0.7538195541221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326496166459189</c:v>
                </c:pt>
                <c:pt idx="1">
                  <c:v>0.19494656629353377</c:v>
                </c:pt>
                <c:pt idx="2">
                  <c:v>0.217481243632097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097422186737822</c:v>
                </c:pt>
                <c:pt idx="1">
                  <c:v>0.016339454864753737</c:v>
                </c:pt>
                <c:pt idx="2">
                  <c:v>0.02869920224577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683</c:v>
                </c:pt>
                <c:pt idx="1">
                  <c:v>0.072872</c:v>
                </c:pt>
                <c:pt idx="2">
                  <c:v>0.0303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394</c:v>
                </c:pt>
                <c:pt idx="1">
                  <c:v>0.00667</c:v>
                </c:pt>
                <c:pt idx="2">
                  <c:v>0.0007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196</c:v>
                </c:pt>
                <c:pt idx="1">
                  <c:v>0.031325</c:v>
                </c:pt>
                <c:pt idx="2">
                  <c:v>0.0108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87%</a:t>
                    </a:r>
                  </a:p>
                </c:rich>
              </c:tx>
              <c:showLegendKey val="0"/>
              <c:showVal val="1"/>
              <c:showCatName val="0"/>
              <c:showSerName val="0"/>
              <c:showPercent val="0"/>
              <c:showBubbleSize val="0"/>
            </c:dLbl>
            <c:dLbl>
              <c:idx val="2"/>
              <c:tx>
                <c:rich>
                  <a:bodyPr/>
                  <a:lstStyle/>
                  <a:p>
                    <a:r>
                      <a:rPr sz="800">
                        <a:solidFill>
                          <a:srgbClr val="FFFFFF"/>
                        </a:solidFill>
                        <a:latin typeface="Nexa Book"/>
                      </a:rPr>
                      <a:t>8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817100275842908</c:v>
                </c:pt>
                <c:pt idx="1">
                  <c:v>0.8745483692647872</c:v>
                </c:pt>
                <c:pt idx="2">
                  <c:v>0.83209582193985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528943660574309</c:v>
                </c:pt>
                <c:pt idx="1">
                  <c:v>0.11794029850746268</c:v>
                </c:pt>
                <c:pt idx="2">
                  <c:v>0.152424378561751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0005358099660655</c:v>
                </c:pt>
                <c:pt idx="1">
                  <c:v>0.007511332227750138</c:v>
                </c:pt>
                <c:pt idx="2">
                  <c:v>0.0154797994983922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7666378240097</c:v>
                </c:pt>
                <c:pt idx="1">
                  <c:v>0.6489534387014096</c:v>
                </c:pt>
                <c:pt idx="2">
                  <c:v>0.59115453844175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11387833414845</c:v>
                </c:pt>
                <c:pt idx="1">
                  <c:v>0.3353695002135839</c:v>
                </c:pt>
                <c:pt idx="2">
                  <c:v>0.38056055541270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09457883450585</c:v>
                </c:pt>
                <c:pt idx="1">
                  <c:v>0.015677061085006407</c:v>
                </c:pt>
                <c:pt idx="2">
                  <c:v>0.0282849061455386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00577207082921</c:v>
                </c:pt>
                <c:pt idx="1">
                  <c:v>0.9307459941215395</c:v>
                </c:pt>
                <c:pt idx="2">
                  <c:v>0.908593617497272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05333400641742</c:v>
                </c:pt>
                <c:pt idx="1">
                  <c:v>0.06213181371853366</c:v>
                </c:pt>
                <c:pt idx="2">
                  <c:v>0.076458012577055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88945285290495</c:v>
                </c:pt>
                <c:pt idx="1">
                  <c:v>0.007122192159926888</c:v>
                </c:pt>
                <c:pt idx="2">
                  <c:v>0.0149483699256714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008482433785624</c:v>
                </c:pt>
                <c:pt idx="1">
                  <c:v>0.777801958019232</c:v>
                </c:pt>
                <c:pt idx="2">
                  <c:v>0.73377792994626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377407374048308</c:v>
                </c:pt>
                <c:pt idx="1">
                  <c:v>0.20681940841588467</c:v>
                </c:pt>
                <c:pt idx="2">
                  <c:v>0.2376706313172663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377682880954525</c:v>
                </c:pt>
                <c:pt idx="1">
                  <c:v>0.015378633564883325</c:v>
                </c:pt>
                <c:pt idx="2">
                  <c:v>0.0285514387364723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93%</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54681386310991</c:v>
                </c:pt>
                <c:pt idx="1">
                  <c:v>0.9254611090052358</c:v>
                </c:pt>
                <c:pt idx="2">
                  <c:v>0.90438636934533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50712546572605</c:v>
                </c:pt>
                <c:pt idx="1">
                  <c:v>0.06737568090705798</c:v>
                </c:pt>
                <c:pt idx="2">
                  <c:v>0.082060984153531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02473590317481</c:v>
                </c:pt>
                <c:pt idx="1">
                  <c:v>0.0071632100877062335</c:v>
                </c:pt>
                <c:pt idx="2">
                  <c:v>0.0135526465011324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76737520502328</c:v>
                </c:pt>
                <c:pt idx="1">
                  <c:v>0.7645389015288439</c:v>
                </c:pt>
                <c:pt idx="2">
                  <c:v>0.72549425525307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673304726718467</c:v>
                </c:pt>
                <c:pt idx="1">
                  <c:v>0.21932566430642086</c:v>
                </c:pt>
                <c:pt idx="2">
                  <c:v>0.24722643054078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593200682582547</c:v>
                </c:pt>
                <c:pt idx="1">
                  <c:v>0.016135434164735233</c:v>
                </c:pt>
                <c:pt idx="2">
                  <c:v>0.0272793142061333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92%</a:t>
                    </a:r>
                  </a:p>
                </c:rich>
              </c:tx>
              <c:showLegendKey val="0"/>
              <c:showVal val="1"/>
              <c:showCatName val="0"/>
              <c:showSerName val="0"/>
              <c:showPercent val="0"/>
              <c:showBubbleSize val="0"/>
            </c:dLbl>
            <c:dLbl>
              <c:idx val="2"/>
              <c:tx>
                <c:rich>
                  <a:bodyPr/>
                  <a:lstStyle/>
                  <a:p>
                    <a:r>
                      <a:rPr sz="800">
                        <a:solidFill>
                          <a:srgbClr val="FFFFFF"/>
                        </a:solidFill>
                        <a:latin typeface="Nexa Book"/>
                      </a:rPr>
                      <a:t>9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91704314485937</c:v>
                </c:pt>
                <c:pt idx="1">
                  <c:v>0.9180721237121937</c:v>
                </c:pt>
                <c:pt idx="2">
                  <c:v>0.90129653273478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8463397516736</c:v>
                </c:pt>
                <c:pt idx="1">
                  <c:v>0.07520244858409258</c:v>
                </c:pt>
                <c:pt idx="2">
                  <c:v>0.0858053860518794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944934576238934</c:v>
                </c:pt>
                <c:pt idx="1">
                  <c:v>0.006725427703713651</c:v>
                </c:pt>
                <c:pt idx="2">
                  <c:v>0.01289808121333836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03542624532186</c:v>
                </c:pt>
                <c:pt idx="1">
                  <c:v>0.7451254431415326</c:v>
                </c:pt>
                <c:pt idx="2">
                  <c:v>0.7162033075285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422257507400495</c:v>
                </c:pt>
                <c:pt idx="1">
                  <c:v>0.2396676059752144</c:v>
                </c:pt>
                <c:pt idx="2">
                  <c:v>0.258224044259587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423162472776454</c:v>
                </c:pt>
                <c:pt idx="1">
                  <c:v>0.015206950883253037</c:v>
                </c:pt>
                <c:pt idx="2">
                  <c:v>0.0255726482119047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2222376380487</c:v>
                </c:pt>
                <c:pt idx="1">
                  <c:v>0.6098522532595553</c:v>
                </c:pt>
                <c:pt idx="2">
                  <c:v>0.57462151497481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9239893244</c:v>
                </c:pt>
                <c:pt idx="1">
                  <c:v>0.14072518795692185</c:v>
                </c:pt>
                <c:pt idx="2">
                  <c:v>0.1298316832875775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12974688334031</c:v>
                </c:pt>
                <c:pt idx="1">
                  <c:v>0.06369387321492982</c:v>
                </c:pt>
                <c:pt idx="2">
                  <c:v>0.064970934222028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45170754102992</c:v>
                </c:pt>
                <c:pt idx="1">
                  <c:v>0.04254733422697135</c:v>
                </c:pt>
                <c:pt idx="2">
                  <c:v>0.0509882798932033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109611571623894</c:v>
                </c:pt>
                <c:pt idx="1">
                  <c:v>0.03198384110466647</c:v>
                </c:pt>
                <c:pt idx="2">
                  <c:v>0.0346583657882592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324836410052016</c:v>
                </c:pt>
                <c:pt idx="1">
                  <c:v>0.02836510124721091</c:v>
                </c:pt>
                <c:pt idx="2">
                  <c:v>0.0405388567559396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9899954088865794</c:v>
                </c:pt>
                <c:pt idx="1">
                  <c:v>0.02188199037045037</c:v>
                </c:pt>
                <c:pt idx="2">
                  <c:v>0.0272188930814977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764213532180678</c:v>
                </c:pt>
                <c:pt idx="1">
                  <c:v>0.015658429808827815</c:v>
                </c:pt>
                <c:pt idx="2">
                  <c:v>0.01989158017559722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675753875959214</c:v>
                </c:pt>
                <c:pt idx="1">
                  <c:v>0.010281848913058056</c:v>
                </c:pt>
                <c:pt idx="2">
                  <c:v>0.0118356234929760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295122824896952</c:v>
                </c:pt>
                <c:pt idx="1">
                  <c:v>0.0068997890138993885</c:v>
                </c:pt>
                <c:pt idx="2">
                  <c:v>0.00898759390174525</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242526827742434</c:v>
                </c:pt>
                <c:pt idx="1">
                  <c:v>0.007966154695376024</c:v>
                </c:pt>
                <c:pt idx="2">
                  <c:v>0.007993162991293991</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5569184547623973</c:v>
                </c:pt>
                <c:pt idx="1">
                  <c:v>0.00597163369876493</c:v>
                </c:pt>
                <c:pt idx="2">
                  <c:v>0.006520078282801854</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29449343874395208</c:v>
                </c:pt>
                <c:pt idx="1">
                  <c:v>0.0019208276245675632</c:v>
                </c:pt>
                <c:pt idx="2">
                  <c:v>0.001464001344337895</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873103643124177</c:v>
                </c:pt>
                <c:pt idx="1">
                  <c:v>0.0028634533815304927</c:v>
                </c:pt>
                <c:pt idx="2">
                  <c:v>0.00269993126262908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5321125680468595</c:v>
                </c:pt>
                <c:pt idx="1">
                  <c:v>0.0025763033456367383</c:v>
                </c:pt>
                <c:pt idx="2">
                  <c:v>0.003549423275488759</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33144307271617</c:v>
                </c:pt>
                <c:pt idx="1">
                  <c:v>0.006808166411492778</c:v>
                </c:pt>
                <c:pt idx="2">
                  <c:v>0.0142057891439186</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820028353909257e-06</c:v>
                </c:pt>
                <c:pt idx="1">
                  <c:v>3.8117261401825816e-06</c:v>
                </c:pt>
                <c:pt idx="2">
                  <c:v>2.428812589068803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83699657570766</c:v>
                </c:pt>
                <c:pt idx="1">
                  <c:v>0.5596361108273833</c:v>
                </c:pt>
                <c:pt idx="2">
                  <c:v>0.51035070307490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63396803203906</c:v>
                </c:pt>
                <c:pt idx="1">
                  <c:v>0.07188162069726754</c:v>
                </c:pt>
                <c:pt idx="2">
                  <c:v>0.066882141633803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3413865421756695</c:v>
                </c:pt>
                <c:pt idx="1">
                  <c:v>0.04290623692335065</c:v>
                </c:pt>
                <c:pt idx="2">
                  <c:v>0.0432823629640689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188573053544555</c:v>
                </c:pt>
                <c:pt idx="1">
                  <c:v>0.04966408456041041</c:v>
                </c:pt>
                <c:pt idx="2">
                  <c:v>0.0569310626487611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604642345107053</c:v>
                </c:pt>
                <c:pt idx="1">
                  <c:v>0.009215845851221914</c:v>
                </c:pt>
                <c:pt idx="2">
                  <c:v>0.0093889703751196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376304844958944</c:v>
                </c:pt>
                <c:pt idx="1">
                  <c:v>0.03184195005584862</c:v>
                </c:pt>
                <c:pt idx="2">
                  <c:v>0.0400414555099818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985734090074291</c:v>
                </c:pt>
                <c:pt idx="1">
                  <c:v>0.08307111390811832</c:v>
                </c:pt>
                <c:pt idx="2">
                  <c:v>0.0968319910062622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85244736187305</c:v>
                </c:pt>
                <c:pt idx="1">
                  <c:v>0.04851086824009305</c:v>
                </c:pt>
                <c:pt idx="2">
                  <c:v>0.0561845121512072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562484448499355</c:v>
                </c:pt>
                <c:pt idx="1">
                  <c:v>0.02902810223427425</c:v>
                </c:pt>
                <c:pt idx="2">
                  <c:v>0.02908033761648383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932936004834296</c:v>
                </c:pt>
                <c:pt idx="1">
                  <c:v>0.02700832622183269</c:v>
                </c:pt>
                <c:pt idx="2">
                  <c:v>0.032110454341849864</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614571607995545</c:v>
                </c:pt>
                <c:pt idx="1">
                  <c:v>0.007789152517800718</c:v>
                </c:pt>
                <c:pt idx="2">
                  <c:v>0.007342543717118842</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1531808002654123</c:v>
                </c:pt>
                <c:pt idx="1">
                  <c:v>0.012243862417998082</c:v>
                </c:pt>
                <c:pt idx="2">
                  <c:v>0.012638660776236859</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0957143026410892</c:v>
                </c:pt>
                <c:pt idx="1">
                  <c:v>0.006672180138979041</c:v>
                </c:pt>
                <c:pt idx="2">
                  <c:v>0.004918450336826019</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9177577402040356</c:v>
                </c:pt>
                <c:pt idx="1">
                  <c:v>0.002774308976306347</c:v>
                </c:pt>
                <c:pt idx="2">
                  <c:v>0.0024416592743529164</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9935542732561584</c:v>
                </c:pt>
                <c:pt idx="1">
                  <c:v>0.0019604677445395208</c:v>
                </c:pt>
                <c:pt idx="2">
                  <c:v>0.00270514768525431</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5758498524829082</c:v>
                </c:pt>
                <c:pt idx="1">
                  <c:v>0.015769409454396883</c:v>
                </c:pt>
                <c:pt idx="2">
                  <c:v>0.028781717417462254</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4.739504958707063e-05</c:v>
                </c:pt>
                <c:pt idx="1">
                  <c:v>2.6359230178682632e-05</c:v>
                </c:pt>
                <c:pt idx="2">
                  <c:v>8.782947030046462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1630642618828</c:v>
                </c:pt>
                <c:pt idx="1">
                  <c:v>0.6188815298700073</c:v>
                </c:pt>
                <c:pt idx="2">
                  <c:v>0.58669385085880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39217280541155</c:v>
                </c:pt>
                <c:pt idx="1">
                  <c:v>0.1257635525201285</c:v>
                </c:pt>
                <c:pt idx="2">
                  <c:v>0.115515259297837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14541461004248</c:v>
                </c:pt>
                <c:pt idx="1">
                  <c:v>0.06085834405810653</c:v>
                </c:pt>
                <c:pt idx="2">
                  <c:v>0.058237890285744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24494078117709</c:v>
                </c:pt>
                <c:pt idx="1">
                  <c:v>0.04511048967601438</c:v>
                </c:pt>
                <c:pt idx="2">
                  <c:v>0.057321163574168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267683001073415</c:v>
                </c:pt>
                <c:pt idx="1">
                  <c:v>0.044388622177804336</c:v>
                </c:pt>
                <c:pt idx="2">
                  <c:v>0.0478221822416009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17066619443518</c:v>
                </c:pt>
                <c:pt idx="1">
                  <c:v>0.028803874322153384</c:v>
                </c:pt>
                <c:pt idx="2">
                  <c:v>0.043706381134012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2698001087698063</c:v>
                </c:pt>
                <c:pt idx="1">
                  <c:v>0.02368286000719099</c:v>
                </c:pt>
                <c:pt idx="2">
                  <c:v>0.02681144517616214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946144982048539</c:v>
                </c:pt>
                <c:pt idx="1">
                  <c:v>0.010394522850543783</c:v>
                </c:pt>
                <c:pt idx="2">
                  <c:v>0.01307386041666974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85145072072955</c:v>
                </c:pt>
                <c:pt idx="1">
                  <c:v>0.00962605348763626</c:v>
                </c:pt>
                <c:pt idx="2">
                  <c:v>0.01026597798731437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247652198124382</c:v>
                </c:pt>
                <c:pt idx="1">
                  <c:v>0.007249589090365053</c:v>
                </c:pt>
                <c:pt idx="2">
                  <c:v>0.008205266296089708</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18090083868693</c:v>
                </c:pt>
                <c:pt idx="1">
                  <c:v>0.0050408452655446925</c:v>
                </c:pt>
                <c:pt idx="2">
                  <c:v>0.007338252330654862</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5368671143345</c:v>
                </c:pt>
                <c:pt idx="1">
                  <c:v>0.006975976161992695</c:v>
                </c:pt>
                <c:pt idx="2">
                  <c:v>0.00556871529539876</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1088572918349334</c:v>
                </c:pt>
                <c:pt idx="1">
                  <c:v>0.0043954555799446335</c:v>
                </c:pt>
                <c:pt idx="2">
                  <c:v>0.005092597387417645</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7940353481771007</c:v>
                </c:pt>
                <c:pt idx="1">
                  <c:v>0.0016483679369481384</c:v>
                </c:pt>
                <c:pt idx="2">
                  <c:v>0.0018778398036346528</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7417767561610923</c:v>
                </c:pt>
                <c:pt idx="1">
                  <c:v>0.0013105044178913787</c:v>
                </c:pt>
                <c:pt idx="2">
                  <c:v>0.0010759258629082253</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5288282830270335</c:v>
                </c:pt>
                <c:pt idx="1">
                  <c:v>0.005869412577727931</c:v>
                </c:pt>
                <c:pt idx="2">
                  <c:v>0.011381555683454088</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405063645993104e-07</c:v>
                </c:pt>
                <c:pt idx="1">
                  <c:v>0.0</c:v>
                </c:pt>
                <c:pt idx="2">
                  <c:v>1.1836368128803359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01138749926901</c:v>
                </c:pt>
                <c:pt idx="1">
                  <c:v>0.5763699168758847</c:v>
                </c:pt>
                <c:pt idx="2">
                  <c:v>0.53703676631825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591139866348399</c:v>
                </c:pt>
                <c:pt idx="1">
                  <c:v>0.0602198391108574</c:v>
                </c:pt>
                <c:pt idx="2">
                  <c:v>0.0564870988962795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6924311938799</c:v>
                </c:pt>
                <c:pt idx="1">
                  <c:v>0.03944172283029749</c:v>
                </c:pt>
                <c:pt idx="2">
                  <c:v>0.0388568087128133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2408227494803324</c:v>
                </c:pt>
                <c:pt idx="1">
                  <c:v>0.011021081021255773</c:v>
                </c:pt>
                <c:pt idx="2">
                  <c:v>0.0142972004970396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39947687678428</c:v>
                </c:pt>
                <c:pt idx="1">
                  <c:v>0.055763640917802074</c:v>
                </c:pt>
                <c:pt idx="2">
                  <c:v>0.05854835172867480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365537663276644</c:v>
                </c:pt>
                <c:pt idx="1">
                  <c:v>0.03368652830122735</c:v>
                </c:pt>
                <c:pt idx="2">
                  <c:v>0.046750968496454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477892196213736</c:v>
                </c:pt>
                <c:pt idx="1">
                  <c:v>0.0953102154702891</c:v>
                </c:pt>
                <c:pt idx="2">
                  <c:v>0.1047291864629778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30711160493565</c:v>
                </c:pt>
                <c:pt idx="1">
                  <c:v>0.03331954727356397</c:v>
                </c:pt>
                <c:pt idx="2">
                  <c:v>0.03909070974343980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296532182178724</c:v>
                </c:pt>
                <c:pt idx="1">
                  <c:v>0.025956626337587593</c:v>
                </c:pt>
                <c:pt idx="2">
                  <c:v>0.025860682698633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863892270641836</c:v>
                </c:pt>
                <c:pt idx="1">
                  <c:v>0.02210623809496071</c:v>
                </c:pt>
                <c:pt idx="2">
                  <c:v>0.022059790950953877</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4864407951047575</c:v>
                </c:pt>
                <c:pt idx="1">
                  <c:v>0.00392611448643044</c:v>
                </c:pt>
                <c:pt idx="2">
                  <c:v>0.005862144580074556</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55927400704940435</c:v>
                </c:pt>
                <c:pt idx="1">
                  <c:v>0.006046449312929965</c:v>
                </c:pt>
                <c:pt idx="2">
                  <c:v>0.00536510488999342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3843626562325559</c:v>
                </c:pt>
                <c:pt idx="1">
                  <c:v>0.016700549306522358</c:v>
                </c:pt>
                <c:pt idx="2">
                  <c:v>0.01703091879248593</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95639576610438</c:v>
                </c:pt>
                <c:pt idx="1">
                  <c:v>0.0017125781290957705</c:v>
                </c:pt>
                <c:pt idx="2">
                  <c:v>0.0018127329873547256</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685801776705068</c:v>
                </c:pt>
                <c:pt idx="1">
                  <c:v>0.004933856038585434</c:v>
                </c:pt>
                <c:pt idx="2">
                  <c:v>0.003844748190921716</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4290248324038681</c:v>
                </c:pt>
                <c:pt idx="1">
                  <c:v>0.013485096492709892</c:v>
                </c:pt>
                <c:pt idx="2">
                  <c:v>0.022322929610408597</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5.316292842674946e-06</c:v>
                </c:pt>
                <c:pt idx="1">
                  <c:v>0.0</c:v>
                </c:pt>
                <c:pt idx="2">
                  <c:v>4.385644324245304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86815952356817</c:v>
                </c:pt>
                <c:pt idx="1">
                  <c:v>0.6238890249874367</c:v>
                </c:pt>
                <c:pt idx="2">
                  <c:v>0.58671758953151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670306888055548</c:v>
                </c:pt>
                <c:pt idx="1">
                  <c:v>0.12339598010808109</c:v>
                </c:pt>
                <c:pt idx="2">
                  <c:v>0.114912980184317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93938249478383</c:v>
                </c:pt>
                <c:pt idx="1">
                  <c:v>0.0641724452824438</c:v>
                </c:pt>
                <c:pt idx="2">
                  <c:v>0.0654446241504425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93208575029864</c:v>
                </c:pt>
                <c:pt idx="1">
                  <c:v>0.04646921085235406</c:v>
                </c:pt>
                <c:pt idx="2">
                  <c:v>0.05257537281663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18012746443464</c:v>
                </c:pt>
                <c:pt idx="1">
                  <c:v>0.03468522005246232</c:v>
                </c:pt>
                <c:pt idx="2">
                  <c:v>0.0365426180996263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47812082031934</c:v>
                </c:pt>
                <c:pt idx="1">
                  <c:v>0.030774407932978674</c:v>
                </c:pt>
                <c:pt idx="2">
                  <c:v>0.0483553213219711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722188545750877</c:v>
                </c:pt>
                <c:pt idx="1">
                  <c:v>0.024212678676567675</c:v>
                </c:pt>
                <c:pt idx="2">
                  <c:v>0.0295210240792278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289237853230536</c:v>
                </c:pt>
                <c:pt idx="1">
                  <c:v>0.013573863860851897</c:v>
                </c:pt>
                <c:pt idx="2">
                  <c:v>0.0178652957492234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676551635386751</c:v>
                </c:pt>
                <c:pt idx="1">
                  <c:v>0.008240931063339873</c:v>
                </c:pt>
                <c:pt idx="2">
                  <c:v>0.00845334917326556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782314672633998</c:v>
                </c:pt>
                <c:pt idx="1">
                  <c:v>0.0067769902754028</c:v>
                </c:pt>
                <c:pt idx="2">
                  <c:v>0.006217636933568306</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4626868506388339</c:v>
                </c:pt>
                <c:pt idx="1">
                  <c:v>0.00516255237805869</c:v>
                </c:pt>
                <c:pt idx="2">
                  <c:v>0.005530966938945953</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4291317072762068</c:v>
                </c:pt>
                <c:pt idx="1">
                  <c:v>0.003849148189717422</c:v>
                </c:pt>
                <c:pt idx="2">
                  <c:v>0.005150126462992801</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238782893281809</c:v>
                </c:pt>
                <c:pt idx="1">
                  <c:v>0.004100286045207855</c:v>
                </c:pt>
                <c:pt idx="2">
                  <c:v>0.005234729484503183</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3917325711819695</c:v>
                </c:pt>
                <c:pt idx="1">
                  <c:v>0.001634676619089348</c:v>
                </c:pt>
                <c:pt idx="2">
                  <c:v>0.0011185158914620884</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1097404808157576</c:v>
                </c:pt>
                <c:pt idx="1">
                  <c:v>0.007259481401809294</c:v>
                </c:pt>
                <c:pt idx="2">
                  <c:v>0.014611555909960054</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9528753320898567</c:v>
                </c:pt>
                <c:pt idx="1">
                  <c:v>0.001800772353061006</c:v>
                </c:pt>
                <c:pt idx="2">
                  <c:v>0.0017297181638373292</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4.009790404496379e-06</c:v>
                </c:pt>
                <c:pt idx="1">
                  <c:v>2.3299211375006713e-06</c:v>
                </c:pt>
                <c:pt idx="2">
                  <c:v>1.8575108501979415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10198671786225</c:v>
                </c:pt>
                <c:pt idx="1">
                  <c:v>0.5743767988963566</c:v>
                </c:pt>
                <c:pt idx="2">
                  <c:v>0.52376994088686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52411917855948</c:v>
                </c:pt>
                <c:pt idx="1">
                  <c:v>0.06046885627658716</c:v>
                </c:pt>
                <c:pt idx="2">
                  <c:v>0.0563367905057985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80839299439895</c:v>
                </c:pt>
                <c:pt idx="1">
                  <c:v>0.04103789354760615</c:v>
                </c:pt>
                <c:pt idx="2">
                  <c:v>0.041205822489591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067569767991554</c:v>
                </c:pt>
                <c:pt idx="1">
                  <c:v>0.05645700517621018</c:v>
                </c:pt>
                <c:pt idx="2">
                  <c:v>0.0612767392538302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97245873625345</c:v>
                </c:pt>
                <c:pt idx="1">
                  <c:v>0.00941094190117166</c:v>
                </c:pt>
                <c:pt idx="2">
                  <c:v>0.01008652035235134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856918495017886</c:v>
                </c:pt>
                <c:pt idx="1">
                  <c:v>0.03550046305369502</c:v>
                </c:pt>
                <c:pt idx="2">
                  <c:v>0.0495039863961411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645032855169371</c:v>
                </c:pt>
                <c:pt idx="1">
                  <c:v>0.09398933247255302</c:v>
                </c:pt>
                <c:pt idx="2">
                  <c:v>0.1102653559969315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00899424487388</c:v>
                </c:pt>
                <c:pt idx="1">
                  <c:v>0.04226661901632792</c:v>
                </c:pt>
                <c:pt idx="2">
                  <c:v>0.0510524703306203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74111562253236</c:v>
                </c:pt>
                <c:pt idx="1">
                  <c:v>0.02464848268256036</c:v>
                </c:pt>
                <c:pt idx="2">
                  <c:v>0.0217975238506900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276886874215389</c:v>
                </c:pt>
                <c:pt idx="1">
                  <c:v>0.006656637038915724</c:v>
                </c:pt>
                <c:pt idx="2">
                  <c:v>0.00593981337443624</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974712112378161</c:v>
                </c:pt>
                <c:pt idx="1">
                  <c:v>0.010828923755615246</c:v>
                </c:pt>
                <c:pt idx="2">
                  <c:v>0.011015135717966926</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3949466245756315</c:v>
                </c:pt>
                <c:pt idx="1">
                  <c:v>0.00294548263260436</c:v>
                </c:pt>
                <c:pt idx="2">
                  <c:v>0.003970958801302437</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7004497997874436</c:v>
                </c:pt>
                <c:pt idx="1">
                  <c:v>0.01730591133194225</c:v>
                </c:pt>
                <c:pt idx="2">
                  <c:v>0.01940117371282273</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9290142748838732</c:v>
                </c:pt>
                <c:pt idx="1">
                  <c:v>0.005893847342148646</c:v>
                </c:pt>
                <c:pt idx="2">
                  <c:v>0.003880709737636472</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6097422186737822</c:v>
                </c:pt>
                <c:pt idx="1">
                  <c:v>0.016339454864753737</c:v>
                </c:pt>
                <c:pt idx="2">
                  <c:v>0.0286992022457767</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835412497395575</c:v>
                </c:pt>
                <c:pt idx="1">
                  <c:v>0.0018599003185655711</c:v>
                </c:pt>
                <c:pt idx="2">
                  <c:v>0.0017289820618111088</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2.2761374997154827e-05</c:v>
                </c:pt>
                <c:pt idx="1">
                  <c:v>1.3449692386321279e-05</c:v>
                </c:pt>
                <c:pt idx="2">
                  <c:v>6.887428542928868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45004726570081</c:v>
                </c:pt>
                <c:pt idx="1">
                  <c:v>0.6229471702587406</c:v>
                </c:pt>
                <c:pt idx="2">
                  <c:v>0.60581785677851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265513797419914</c:v>
                </c:pt>
                <c:pt idx="1">
                  <c:v>0.11356551350889206</c:v>
                </c:pt>
                <c:pt idx="2">
                  <c:v>0.114173496106369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7174155444828</c:v>
                </c:pt>
                <c:pt idx="1">
                  <c:v>0.049069496770884</c:v>
                </c:pt>
                <c:pt idx="2">
                  <c:v>0.045715548776044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097713880242936</c:v>
                </c:pt>
                <c:pt idx="1">
                  <c:v>0.04329604545201575</c:v>
                </c:pt>
                <c:pt idx="2">
                  <c:v>0.0525603719231086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52149587495766</c:v>
                </c:pt>
                <c:pt idx="1">
                  <c:v>0.04150061339895613</c:v>
                </c:pt>
                <c:pt idx="2">
                  <c:v>0.03624015661965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209653046967883</c:v>
                </c:pt>
                <c:pt idx="1">
                  <c:v>0.03317677746563393</c:v>
                </c:pt>
                <c:pt idx="2">
                  <c:v>0.02985440784264193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6799982398143</c:v>
                </c:pt>
                <c:pt idx="1">
                  <c:v>0.023106710447462642</c:v>
                </c:pt>
                <c:pt idx="2">
                  <c:v>0.02697365544646804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175662603833276</c:v>
                </c:pt>
                <c:pt idx="1">
                  <c:v>0.0235358074161184</c:v>
                </c:pt>
                <c:pt idx="2">
                  <c:v>0.032985343625667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807068717178233</c:v>
                </c:pt>
                <c:pt idx="1">
                  <c:v>0.013281841697094643</c:v>
                </c:pt>
                <c:pt idx="2">
                  <c:v>0.01122910482926805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7906691298789166</c:v>
                </c:pt>
                <c:pt idx="1">
                  <c:v>0.00971759450820406</c:v>
                </c:pt>
                <c:pt idx="2">
                  <c:v>0.010182220948365064</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5143828388180668</c:v>
                </c:pt>
                <c:pt idx="1">
                  <c:v>0.007419667320797572</c:v>
                </c:pt>
                <c:pt idx="2">
                  <c:v>0.007333045096162721</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519585601995296</c:v>
                </c:pt>
                <c:pt idx="1">
                  <c:v>0.0022938943211597233</c:v>
                </c:pt>
                <c:pt idx="2">
                  <c:v>0.0021666367094326424</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29561690186886147</c:v>
                </c:pt>
                <c:pt idx="1">
                  <c:v>0.0026858889203452458</c:v>
                </c:pt>
                <c:pt idx="2">
                  <c:v>0.001360220355697623</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9043064043256565</c:v>
                </c:pt>
                <c:pt idx="1">
                  <c:v>0.0027673528185298913</c:v>
                </c:pt>
                <c:pt idx="2">
                  <c:v>0.0038839149085008913</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150726901688128</c:v>
                </c:pt>
                <c:pt idx="1">
                  <c:v>0.007501131218982217</c:v>
                </c:pt>
                <c:pt idx="2">
                  <c:v>0.01407585171654951</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48573267336847</c:v>
                </c:pt>
                <c:pt idx="1">
                  <c:v>0.004128848463437631</c:v>
                </c:pt>
                <c:pt idx="2">
                  <c:v>0.0054238786683442715</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5.500580311222834e-06</c:v>
                </c:pt>
                <c:pt idx="1">
                  <c:v>5.646012745470486e-06</c:v>
                </c:pt>
                <c:pt idx="2">
                  <c:v>2.4289649208886124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38160469667319</c:v>
                </c:pt>
                <c:pt idx="1">
                  <c:v>0.5371866001825971</c:v>
                </c:pt>
                <c:pt idx="2">
                  <c:v>0.51750569712036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1043018505167024</c:v>
                </c:pt>
                <c:pt idx="1">
                  <c:v>0.05481424257321441</c:v>
                </c:pt>
                <c:pt idx="2">
                  <c:v>0.0526206753677232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416074432656985</c:v>
                </c:pt>
                <c:pt idx="1">
                  <c:v>0.03069035746892338</c:v>
                </c:pt>
                <c:pt idx="2">
                  <c:v>0.02972860990263103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099151989562945</c:v>
                </c:pt>
                <c:pt idx="1">
                  <c:v>0.0472996699206405</c:v>
                </c:pt>
                <c:pt idx="2">
                  <c:v>0.05583177957323389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119888763003399</c:v>
                </c:pt>
                <c:pt idx="1">
                  <c:v>0.043507268768874216</c:v>
                </c:pt>
                <c:pt idx="2">
                  <c:v>0.034493474207582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656126617914649</c:v>
                </c:pt>
                <c:pt idx="1">
                  <c:v>0.008954280497225929</c:v>
                </c:pt>
                <c:pt idx="2">
                  <c:v>0.00952972860990263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711058468088028</c:v>
                </c:pt>
                <c:pt idx="1">
                  <c:v>0.08424046632488237</c:v>
                </c:pt>
                <c:pt idx="2">
                  <c:v>0.0905324217940749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777217015140591</c:v>
                </c:pt>
                <c:pt idx="1">
                  <c:v>0.06907086171781726</c:v>
                </c:pt>
                <c:pt idx="2">
                  <c:v>0.0913610938471100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461564871081813</c:v>
                </c:pt>
                <c:pt idx="1">
                  <c:v>0.035676662686986445</c:v>
                </c:pt>
                <c:pt idx="2">
                  <c:v>0.02641392169049098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944793490575754</c:v>
                </c:pt>
                <c:pt idx="1">
                  <c:v>0.04227824987709811</c:v>
                </c:pt>
                <c:pt idx="2">
                  <c:v>0.03739382639320489</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9613073780341264</c:v>
                </c:pt>
                <c:pt idx="1">
                  <c:v>0.013589437460495821</c:v>
                </c:pt>
                <c:pt idx="2">
                  <c:v>0.012948000828672052</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9182545404607407</c:v>
                </c:pt>
                <c:pt idx="1">
                  <c:v>0.0019664302268417727</c:v>
                </c:pt>
                <c:pt idx="2">
                  <c:v>0.0015537600994406464</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0265389501150135</c:v>
                </c:pt>
                <c:pt idx="1">
                  <c:v>0.009094739799143199</c:v>
                </c:pt>
                <c:pt idx="2">
                  <c:v>0.0046612802983219395</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9569471624266144</c:v>
                </c:pt>
                <c:pt idx="1">
                  <c:v>0.0019664302268417727</c:v>
                </c:pt>
                <c:pt idx="2">
                  <c:v>0.002486016159105034</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642015998901363</c:v>
                </c:pt>
                <c:pt idx="1">
                  <c:v>0.015801671465692814</c:v>
                </c:pt>
                <c:pt idx="2">
                  <c:v>0.027449761756784753</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256119751433377</c:v>
                </c:pt>
                <c:pt idx="1">
                  <c:v>0.003827515977245593</c:v>
                </c:pt>
                <c:pt idx="2">
                  <c:v>0.0053863683447275745</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3.4332406358361656e-05</c:v>
                </c:pt>
                <c:pt idx="1">
                  <c:v>3.511482547931737e-05</c:v>
                </c:pt>
                <c:pt idx="2">
                  <c:v>0.0001035840066293764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34162846540057</c:v>
                </c:pt>
                <c:pt idx="1">
                  <c:v>0.6069751243781094</c:v>
                </c:pt>
                <c:pt idx="2">
                  <c:v>0.56072177748849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92649481058125</c:v>
                </c:pt>
                <c:pt idx="1">
                  <c:v>0.09081813156440022</c:v>
                </c:pt>
                <c:pt idx="2">
                  <c:v>0.087569112564602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ru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185211644936595</c:v>
                </c:pt>
                <c:pt idx="1">
                  <c:v>0.06855279159756772</c:v>
                </c:pt>
                <c:pt idx="2">
                  <c:v>0.077699679154978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osé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5106268976603</c:v>
                </c:pt>
                <c:pt idx="1">
                  <c:v>0.04929242675511332</c:v>
                </c:pt>
                <c:pt idx="2">
                  <c:v>0.0541050121864509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ousseux Val De Loir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88813478597369</c:v>
                </c:pt>
                <c:pt idx="1">
                  <c:v>0.059323383084577117</c:v>
                </c:pt>
                <c:pt idx="2">
                  <c:v>0.0674835774750522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4339663828858327</c:v>
                </c:pt>
                <c:pt idx="1">
                  <c:v>0.025982310668877833</c:v>
                </c:pt>
                <c:pt idx="2">
                  <c:v>0.03456070409033184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2659800361175608</c:v>
                </c:pt>
                <c:pt idx="1">
                  <c:v>0.024720840243228303</c:v>
                </c:pt>
                <c:pt idx="2">
                  <c:v>0.0275353654697178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8607489432636782</c:v>
                </c:pt>
                <c:pt idx="1">
                  <c:v>0.022291873963515754</c:v>
                </c:pt>
                <c:pt idx="2">
                  <c:v>0.0105981442635244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36034212458574</c:v>
                </c:pt>
                <c:pt idx="1">
                  <c:v>0.010520729684908789</c:v>
                </c:pt>
                <c:pt idx="2">
                  <c:v>0.01442210753083755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301442717945666</c:v>
                </c:pt>
                <c:pt idx="1">
                  <c:v>0.011907131011608623</c:v>
                </c:pt>
                <c:pt idx="2">
                  <c:v>0.023548680361242486</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934770097834931</c:v>
                </c:pt>
                <c:pt idx="1">
                  <c:v>0.007647318960751797</c:v>
                </c:pt>
                <c:pt idx="2">
                  <c:v>0.009554602021288262</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6792879680895398</c:v>
                </c:pt>
                <c:pt idx="1">
                  <c:v>0.006982863460475401</c:v>
                </c:pt>
                <c:pt idx="2">
                  <c:v>0.010240863699233438</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459308209799369</c:v>
                </c:pt>
                <c:pt idx="1">
                  <c:v>0.0032238805970149255</c:v>
                </c:pt>
                <c:pt idx="2">
                  <c:v>0.002168445405053574</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3202952908257427</c:v>
                </c:pt>
                <c:pt idx="1">
                  <c:v>0.0018761746821448315</c:v>
                </c:pt>
                <c:pt idx="2">
                  <c:v>0.0024974265187077058</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30005358099660655</c:v>
                </c:pt>
                <c:pt idx="1">
                  <c:v>0.007511332227750138</c:v>
                </c:pt>
                <c:pt idx="2">
                  <c:v>0.015479799498392238</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5994919727729158</c:v>
                </c:pt>
                <c:pt idx="1">
                  <c:v>0.002373687119955777</c:v>
                </c:pt>
                <c:pt idx="2">
                  <c:v>0.001814702272092143</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3891369490583637e-05</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32399082051089</c:v>
                </c:pt>
                <c:pt idx="1">
                  <c:v>0.47569414780008545</c:v>
                </c:pt>
                <c:pt idx="2">
                  <c:v>0.415530984829004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048004213535984</c:v>
                </c:pt>
                <c:pt idx="1">
                  <c:v>0.03857325929090132</c:v>
                </c:pt>
                <c:pt idx="2">
                  <c:v>0.0362561069683723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ru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9529363078891</c:v>
                </c:pt>
                <c:pt idx="1">
                  <c:v>0.06676633917129432</c:v>
                </c:pt>
                <c:pt idx="2">
                  <c:v>0.070197994343018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osé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12821188066664</c:v>
                </c:pt>
                <c:pt idx="1">
                  <c:v>0.028876548483554036</c:v>
                </c:pt>
                <c:pt idx="2">
                  <c:v>0.031627667780920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ousseux Val De Loir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583085662691396</c:v>
                </c:pt>
                <c:pt idx="1">
                  <c:v>0.16240922682614267</c:v>
                </c:pt>
                <c:pt idx="2">
                  <c:v>0.1688094625867832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97866897407923</c:v>
                </c:pt>
                <c:pt idx="1">
                  <c:v>0.08316958564715933</c:v>
                </c:pt>
                <c:pt idx="2">
                  <c:v>0.1007971200822833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40626763477672</c:v>
                </c:pt>
                <c:pt idx="1">
                  <c:v>0.023622383596753525</c:v>
                </c:pt>
                <c:pt idx="2">
                  <c:v>0.02339933144767292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664986268387194</c:v>
                </c:pt>
                <c:pt idx="1">
                  <c:v>0.0061085006407518155</c:v>
                </c:pt>
                <c:pt idx="2">
                  <c:v>0.003471329390588840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417403408449645</c:v>
                </c:pt>
                <c:pt idx="1">
                  <c:v>0.041221700128150365</c:v>
                </c:pt>
                <c:pt idx="2">
                  <c:v>0.0430701979943430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92686505398593</c:v>
                </c:pt>
                <c:pt idx="1">
                  <c:v>0.027851345578812473</c:v>
                </c:pt>
                <c:pt idx="2">
                  <c:v>0.04602725636410388</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320303976524585</c:v>
                </c:pt>
                <c:pt idx="1">
                  <c:v>0.006322084579239641</c:v>
                </c:pt>
                <c:pt idx="2">
                  <c:v>0.007842633067626639</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0872427673902412</c:v>
                </c:pt>
                <c:pt idx="1">
                  <c:v>0.011405382315249893</c:v>
                </c:pt>
                <c:pt idx="2">
                  <c:v>0.015556698380046285</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3994958805161582</c:v>
                </c:pt>
                <c:pt idx="1">
                  <c:v>0.009312259718069201</c:v>
                </c:pt>
                <c:pt idx="2">
                  <c:v>0.00629982000514271</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993905421165494</c:v>
                </c:pt>
                <c:pt idx="1">
                  <c:v>0.0011106364801366938</c:v>
                </c:pt>
                <c:pt idx="2">
                  <c:v>0.001414245307276935</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609457883450585</c:v>
                </c:pt>
                <c:pt idx="1">
                  <c:v>0.015677061085006407</c:v>
                </c:pt>
                <c:pt idx="2">
                  <c:v>0.028284906145538698</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5800759941311463</c:v>
                </c:pt>
                <c:pt idx="1">
                  <c:v>0.0018795386586928664</c:v>
                </c:pt>
                <c:pt idx="2">
                  <c:v>0.001414245307276935</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524171400624506e-05</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33348953558348</c:v>
                </c:pt>
                <c:pt idx="1">
                  <c:v>0.5993582082068659</c:v>
                </c:pt>
                <c:pt idx="2">
                  <c:v>0.59376916472464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5533312398343</c:v>
                </c:pt>
                <c:pt idx="1">
                  <c:v>0.11049569787278203</c:v>
                </c:pt>
                <c:pt idx="2">
                  <c:v>0.092918872509207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 Val De Loi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68444390864697</c:v>
                </c:pt>
                <c:pt idx="1">
                  <c:v>0.08659874836607785</c:v>
                </c:pt>
                <c:pt idx="2">
                  <c:v>0.095474721624605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osé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876572676337596</c:v>
                </c:pt>
                <c:pt idx="1">
                  <c:v>0.04783820876656806</c:v>
                </c:pt>
                <c:pt idx="2">
                  <c:v>0.04491465585541385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91812798408681</c:v>
                </c:pt>
                <c:pt idx="1">
                  <c:v>0.0530725898700908</c:v>
                </c:pt>
                <c:pt idx="2">
                  <c:v>0.05088493375013674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376958158861577</c:v>
                </c:pt>
                <c:pt idx="1">
                  <c:v>0.02815068581003476</c:v>
                </c:pt>
                <c:pt idx="2">
                  <c:v>0.0250711891825592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998189739067706</c:v>
                </c:pt>
                <c:pt idx="1">
                  <c:v>0.0178684909847143</c:v>
                </c:pt>
                <c:pt idx="2">
                  <c:v>0.02609551781635677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735497739118261</c:v>
                </c:pt>
                <c:pt idx="1">
                  <c:v>0.021536872127882613</c:v>
                </c:pt>
                <c:pt idx="2">
                  <c:v>0.02340706952506290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221192108351214</c:v>
                </c:pt>
                <c:pt idx="1">
                  <c:v>0.006026126429718318</c:v>
                </c:pt>
                <c:pt idx="2">
                  <c:v>0.00703107130189185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008842278828795</c:v>
                </c:pt>
                <c:pt idx="1">
                  <c:v>0.005350985717100883</c:v>
                </c:pt>
                <c:pt idx="2">
                  <c:v>0.007919485780395875</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34085793923862096</c:v>
                </c:pt>
                <c:pt idx="1">
                  <c:v>0.0049428695695773895</c:v>
                </c:pt>
                <c:pt idx="2">
                  <c:v>0.004922744405143522</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3712279344067213</c:v>
                </c:pt>
                <c:pt idx="1">
                  <c:v>0.0020883886291845023</c:v>
                </c:pt>
                <c:pt idx="2">
                  <c:v>0.0024000450837198045</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21680353807818735</c:v>
                </c:pt>
                <c:pt idx="1">
                  <c:v>0.004034519629803673</c:v>
                </c:pt>
                <c:pt idx="2">
                  <c:v>0.004465277248301902</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9765093852598874</c:v>
                </c:pt>
                <c:pt idx="1">
                  <c:v>0.0017175859580060146</c:v>
                </c:pt>
                <c:pt idx="2">
                  <c:v>0.0015978200695482678</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8851213467874675</c:v>
                </c:pt>
                <c:pt idx="1">
                  <c:v>0.004090489844321181</c:v>
                </c:pt>
                <c:pt idx="2">
                  <c:v>0.002277390846015892</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8316496221493495</c:v>
                </c:pt>
                <c:pt idx="1">
                  <c:v>0.0068213698943212385</c:v>
                </c:pt>
                <c:pt idx="2">
                  <c:v>0.016850040276999677</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4.76384455866869e-05</c:v>
                </c:pt>
                <c:pt idx="1">
                  <c:v>8.162322950469858e-06</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747591522157996</c:v>
                </c:pt>
                <c:pt idx="1">
                  <c:v>0.46386935603256846</c:v>
                </c:pt>
                <c:pt idx="2">
                  <c:v>0.442541856925418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36549880067634</c:v>
                </c:pt>
                <c:pt idx="1">
                  <c:v>0.04806624722427831</c:v>
                </c:pt>
                <c:pt idx="2">
                  <c:v>0.0409690512430238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 Val De Loi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6573866540836</c:v>
                </c:pt>
                <c:pt idx="1">
                  <c:v>0.24319948186528498</c:v>
                </c:pt>
                <c:pt idx="2">
                  <c:v>0.24632166412988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osé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20478943022296</c:v>
                </c:pt>
                <c:pt idx="1">
                  <c:v>0.026924500370096225</c:v>
                </c:pt>
                <c:pt idx="2">
                  <c:v>0.026636225266362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343124533050215</c:v>
                </c:pt>
                <c:pt idx="1">
                  <c:v>0.05273871206513694</c:v>
                </c:pt>
                <c:pt idx="2">
                  <c:v>0.0489599188229325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392552396681216</c:v>
                </c:pt>
                <c:pt idx="1">
                  <c:v>0.007263138415988157</c:v>
                </c:pt>
                <c:pt idx="2">
                  <c:v>0.00672247590055809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0801384137470017</c:v>
                </c:pt>
                <c:pt idx="1">
                  <c:v>0.01683937823834197</c:v>
                </c:pt>
                <c:pt idx="2">
                  <c:v>0.0225773718924403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24210609099131</c:v>
                </c:pt>
                <c:pt idx="1">
                  <c:v>0.06999444855662472</c:v>
                </c:pt>
                <c:pt idx="2">
                  <c:v>0.0722983257229832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604105225905392</c:v>
                </c:pt>
                <c:pt idx="1">
                  <c:v>0.024102516654330126</c:v>
                </c:pt>
                <c:pt idx="2">
                  <c:v>0.024353120243531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2819000432542959</c:v>
                </c:pt>
                <c:pt idx="1">
                  <c:v>0.012953367875647668</c:v>
                </c:pt>
                <c:pt idx="2">
                  <c:v>0.016235413495687467</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5780346820809248</c:v>
                </c:pt>
                <c:pt idx="1">
                  <c:v>0.008327165062916359</c:v>
                </c:pt>
                <c:pt idx="2">
                  <c:v>0.008244545915778792</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22413589713341986</c:v>
                </c:pt>
                <c:pt idx="1">
                  <c:v>0.001757957068837898</c:v>
                </c:pt>
                <c:pt idx="2">
                  <c:v>0.0021562658548959918</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15335614014391884</c:v>
                </c:pt>
                <c:pt idx="1">
                  <c:v>0.0024518874907475943</c:v>
                </c:pt>
                <c:pt idx="2">
                  <c:v>0.002917300862506342</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6409500216271479</c:v>
                </c:pt>
                <c:pt idx="1">
                  <c:v>0.00536639526276832</c:v>
                </c:pt>
                <c:pt idx="2">
                  <c:v>0.005200405885337392</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16515276630883566</c:v>
                </c:pt>
                <c:pt idx="1">
                  <c:v>0.003608438193930422</c:v>
                </c:pt>
                <c:pt idx="2">
                  <c:v>0.0021562658548959918</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4325429593802839</c:v>
                </c:pt>
                <c:pt idx="1">
                  <c:v>0.01253700962250185</c:v>
                </c:pt>
                <c:pt idx="2">
                  <c:v>0.031709791983764585</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02359325232983367</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1320472367865</c:v>
                </c:pt>
                <c:pt idx="1">
                  <c:v>0.6338944680833217</c:v>
                </c:pt>
                <c:pt idx="2">
                  <c:v>0.59221744355404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31620624773066</c:v>
                </c:pt>
                <c:pt idx="1">
                  <c:v>0.1193976801315447</c:v>
                </c:pt>
                <c:pt idx="2">
                  <c:v>0.11243144092354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392580529629857</c:v>
                </c:pt>
                <c:pt idx="1">
                  <c:v>0.06109099180226308</c:v>
                </c:pt>
                <c:pt idx="2">
                  <c:v>0.0640175635303659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11669737800206</c:v>
                </c:pt>
                <c:pt idx="1">
                  <c:v>0.044446598946633456</c:v>
                </c:pt>
                <c:pt idx="2">
                  <c:v>0.049074803058670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263003728814645</c:v>
                </c:pt>
                <c:pt idx="1">
                  <c:v>0.03097888388439969</c:v>
                </c:pt>
                <c:pt idx="2">
                  <c:v>0.032531038428719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149628785318012</c:v>
                </c:pt>
                <c:pt idx="1">
                  <c:v>0.02947408334309335</c:v>
                </c:pt>
                <c:pt idx="2">
                  <c:v>0.045901501947800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096686037134792</c:v>
                </c:pt>
                <c:pt idx="1">
                  <c:v>0.026015058860156915</c:v>
                </c:pt>
                <c:pt idx="2">
                  <c:v>0.0327371033703579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388488901673489</c:v>
                </c:pt>
                <c:pt idx="1">
                  <c:v>0.01555145583392834</c:v>
                </c:pt>
                <c:pt idx="2">
                  <c:v>0.02048292119245112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6475673434965655</c:v>
                </c:pt>
                <c:pt idx="1">
                  <c:v>0.007774340236642051</c:v>
                </c:pt>
                <c:pt idx="2">
                  <c:v>0.00883324017240161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214865137053094</c:v>
                </c:pt>
                <c:pt idx="1">
                  <c:v>0.005834918218447897</c:v>
                </c:pt>
                <c:pt idx="2">
                  <c:v>0.006160335352956743</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5037843272182557</c:v>
                </c:pt>
                <c:pt idx="1">
                  <c:v>0.005417257278830431</c:v>
                </c:pt>
                <c:pt idx="2">
                  <c:v>0.006044516626751552</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4800614860066436</c:v>
                </c:pt>
                <c:pt idx="1">
                  <c:v>0.005628308037154555</c:v>
                </c:pt>
                <c:pt idx="2">
                  <c:v>0.007144464557819942</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4000952736286385</c:v>
                </c:pt>
                <c:pt idx="1">
                  <c:v>0.003608523909639438</c:v>
                </c:pt>
                <c:pt idx="2">
                  <c:v>0.004184817649849963</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582585422044242</c:v>
                </c:pt>
                <c:pt idx="1">
                  <c:v>0.0017453934718213624</c:v>
                </c:pt>
                <c:pt idx="2">
                  <c:v>0.0012025679420365222</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190540174153762</c:v>
                </c:pt>
                <c:pt idx="1">
                  <c:v>0.0020198458021960996</c:v>
                </c:pt>
                <c:pt idx="2">
                  <c:v>0.002074673051325184</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888945285290495</c:v>
                </c:pt>
                <c:pt idx="1">
                  <c:v>0.007122192159926888</c:v>
                </c:pt>
                <c:pt idx="2">
                  <c:v>0.014948369925671435</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3.148054757939043e-06</c:v>
                </c:pt>
                <c:pt idx="1">
                  <c:v>0.0</c:v>
                </c:pt>
                <c:pt idx="2">
                  <c:v>1.3198715237058825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39974462629077</c:v>
                </c:pt>
                <c:pt idx="1">
                  <c:v>0.5751812067294579</c:v>
                </c:pt>
                <c:pt idx="2">
                  <c:v>0.515466603152864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37740737404831</c:v>
                </c:pt>
                <c:pt idx="1">
                  <c:v>0.05836626682219398</c:v>
                </c:pt>
                <c:pt idx="2">
                  <c:v>0.055681259955044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049315736212735</c:v>
                </c:pt>
                <c:pt idx="1">
                  <c:v>0.04036165903538246</c:v>
                </c:pt>
                <c:pt idx="2">
                  <c:v>0.0421721720231626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07890093937259</c:v>
                </c:pt>
                <c:pt idx="1">
                  <c:v>0.052296059007526825</c:v>
                </c:pt>
                <c:pt idx="2">
                  <c:v>0.05523467853580838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173850156032276</c:v>
                </c:pt>
                <c:pt idx="1">
                  <c:v>0.008136167644515632</c:v>
                </c:pt>
                <c:pt idx="2">
                  <c:v>0.00874555279336677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352378631260494</c:v>
                </c:pt>
                <c:pt idx="1">
                  <c:v>0.033098881712193225</c:v>
                </c:pt>
                <c:pt idx="2">
                  <c:v>0.045774595471664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787345755869092</c:v>
                </c:pt>
                <c:pt idx="1">
                  <c:v>0.09809827237010858</c:v>
                </c:pt>
                <c:pt idx="2">
                  <c:v>0.1178900516545841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604340293414855</c:v>
                </c:pt>
                <c:pt idx="1">
                  <c:v>0.047879779708328254</c:v>
                </c:pt>
                <c:pt idx="2">
                  <c:v>0.0574080414427557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065607731147644</c:v>
                </c:pt>
                <c:pt idx="1">
                  <c:v>0.022563066905760893</c:v>
                </c:pt>
                <c:pt idx="2">
                  <c:v>0.0221950965360167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528681858400047</c:v>
                </c:pt>
                <c:pt idx="1">
                  <c:v>0.00574522536952245</c:v>
                </c:pt>
                <c:pt idx="2">
                  <c:v>0.005693913095255816</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0705032769427211</c:v>
                </c:pt>
                <c:pt idx="1">
                  <c:v>0.011473040965197863</c:v>
                </c:pt>
                <c:pt idx="2">
                  <c:v>0.012169343674174197</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20954419501650393</c:v>
                </c:pt>
                <c:pt idx="1">
                  <c:v>0.020943957937986386</c:v>
                </c:pt>
                <c:pt idx="2">
                  <c:v>0.024063295473153015</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0517688073200067</c:v>
                </c:pt>
                <c:pt idx="1">
                  <c:v>0.0025534334975655334</c:v>
                </c:pt>
                <c:pt idx="2">
                  <c:v>0.0029920955088795272</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9552672152079812</c:v>
                </c:pt>
                <c:pt idx="1">
                  <c:v>0.005861290528502702</c:v>
                </c:pt>
                <c:pt idx="2">
                  <c:v>0.0039001443946588862</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2384936130081644</c:v>
                </c:pt>
                <c:pt idx="1">
                  <c:v>0.0020630582008739707</c:v>
                </c:pt>
                <c:pt idx="2">
                  <c:v>0.0020170594102148056</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5377682880954525</c:v>
                </c:pt>
                <c:pt idx="1">
                  <c:v>0.015378633564883325</c:v>
                </c:pt>
                <c:pt idx="2">
                  <c:v>0.028551438736472305</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8543734072256986e-05</c:v>
                </c:pt>
                <c:pt idx="1">
                  <c:v>0.0</c:v>
                </c:pt>
                <c:pt idx="2">
                  <c:v>4.4658141923575036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65105311142592</c:v>
                </c:pt>
                <c:pt idx="1">
                  <c:v>0.6232379337702083</c:v>
                </c:pt>
                <c:pt idx="2">
                  <c:v>0.59546577550819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45269955560917</c:v>
                </c:pt>
                <c:pt idx="1">
                  <c:v>0.12517290095455652</c:v>
                </c:pt>
                <c:pt idx="2">
                  <c:v>0.107585763934155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521209345079394</c:v>
                </c:pt>
                <c:pt idx="1">
                  <c:v>0.05700962014885343</c:v>
                </c:pt>
                <c:pt idx="2">
                  <c:v>0.05656948502953393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32094071633537</c:v>
                </c:pt>
                <c:pt idx="1">
                  <c:v>0.046498788357407395</c:v>
                </c:pt>
                <c:pt idx="2">
                  <c:v>0.0569336644440699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2203776652745424</c:v>
                </c:pt>
                <c:pt idx="1">
                  <c:v>0.0303354435795828</c:v>
                </c:pt>
                <c:pt idx="2">
                  <c:v>0.03026547153073002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325982130050198</c:v>
                </c:pt>
                <c:pt idx="1">
                  <c:v>0.03161837264170071</c:v>
                </c:pt>
                <c:pt idx="2">
                  <c:v>0.04505734553906714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983397515954912</c:v>
                </c:pt>
                <c:pt idx="1">
                  <c:v>0.023334361889836522</c:v>
                </c:pt>
                <c:pt idx="2">
                  <c:v>0.02982243603807561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18618474939067</c:v>
                </c:pt>
                <c:pt idx="1">
                  <c:v>0.015386128979469572</c:v>
                </c:pt>
                <c:pt idx="2">
                  <c:v>0.019878938961791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27482501748126</c:v>
                </c:pt>
                <c:pt idx="1">
                  <c:v>0.010779908842758723</c:v>
                </c:pt>
                <c:pt idx="2">
                  <c:v>0.011603714290862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8949970348953194</c:v>
                </c:pt>
                <c:pt idx="1">
                  <c:v>0.009779548582695374</c:v>
                </c:pt>
                <c:pt idx="2">
                  <c:v>0.010673763713697323</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5713686296759785</c:v>
                </c:pt>
                <c:pt idx="1">
                  <c:v>0.0065879157723644525</c:v>
                </c:pt>
                <c:pt idx="2">
                  <c:v>0.008806443304705609</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47863509466087055</c:v>
                </c:pt>
                <c:pt idx="1">
                  <c:v>0.006332330471793638</c:v>
                </c:pt>
                <c:pt idx="2">
                  <c:v>0.006317177376360771</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1889152523821565</c:v>
                </c:pt>
                <c:pt idx="1">
                  <c:v>0.002893601552369936</c:v>
                </c:pt>
                <c:pt idx="2">
                  <c:v>0.004117898315935181</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393665978627842</c:v>
                </c:pt>
                <c:pt idx="1">
                  <c:v>0.0015062251165312071</c:v>
                </c:pt>
                <c:pt idx="2">
                  <c:v>0.00126508890916818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157732918029483</c:v>
                </c:pt>
                <c:pt idx="1">
                  <c:v>0.0023621175287630103</c:v>
                </c:pt>
                <c:pt idx="2">
                  <c:v>0.002073787667290944</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2473590317481</c:v>
                </c:pt>
                <c:pt idx="1">
                  <c:v>0.0071632100877062335</c:v>
                </c:pt>
                <c:pt idx="2">
                  <c:v>0.013552646501132496</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5.3955585583824314e-06</c:v>
                </c:pt>
                <c:pt idx="1">
                  <c:v>1.5917234021314086e-06</c:v>
                </c:pt>
                <c:pt idx="2">
                  <c:v>1.0598935230966698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92074090027999</c:v>
                </c:pt>
                <c:pt idx="1">
                  <c:v>0.5592932020668099</c:v>
                </c:pt>
                <c:pt idx="2">
                  <c:v>0.511014293645491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96080120611674</c:v>
                </c:pt>
                <c:pt idx="1">
                  <c:v>0.05978580592116921</c:v>
                </c:pt>
                <c:pt idx="2">
                  <c:v>0.0517732965719716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038171606554118</c:v>
                </c:pt>
                <c:pt idx="1">
                  <c:v>0.037363470766264784</c:v>
                </c:pt>
                <c:pt idx="2">
                  <c:v>0.0370750251714955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11628754618201</c:v>
                </c:pt>
                <c:pt idx="1">
                  <c:v>0.05429628527079036</c:v>
                </c:pt>
                <c:pt idx="2">
                  <c:v>0.0627828852650299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194983349624744</c:v>
                </c:pt>
                <c:pt idx="1">
                  <c:v>0.008104928164891166</c:v>
                </c:pt>
                <c:pt idx="2">
                  <c:v>0.00836540542575114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22657764376481</c:v>
                </c:pt>
                <c:pt idx="1">
                  <c:v>0.035120174076987955</c:v>
                </c:pt>
                <c:pt idx="2">
                  <c:v>0.0439442557235746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783760499676932</c:v>
                </c:pt>
                <c:pt idx="1">
                  <c:v>0.08817254601770538</c:v>
                </c:pt>
                <c:pt idx="2">
                  <c:v>0.106642451844811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701204459981113</c:v>
                </c:pt>
                <c:pt idx="1">
                  <c:v>0.04730768958160567</c:v>
                </c:pt>
                <c:pt idx="2">
                  <c:v>0.055292600991803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626667108467668</c:v>
                </c:pt>
                <c:pt idx="1">
                  <c:v>0.029938973824661378</c:v>
                </c:pt>
                <c:pt idx="2">
                  <c:v>0.02809797592946335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1998376381318446</c:v>
                </c:pt>
                <c:pt idx="1">
                  <c:v>0.024024183659727687</c:v>
                </c:pt>
                <c:pt idx="2">
                  <c:v>0.02464454084369207</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528868934210308</c:v>
                </c:pt>
                <c:pt idx="1">
                  <c:v>0.02467271966942383</c:v>
                </c:pt>
                <c:pt idx="2">
                  <c:v>0.028323813646244037</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4983515300120943</c:v>
                </c:pt>
                <c:pt idx="1">
                  <c:v>0.006187671436773055</c:v>
                </c:pt>
                <c:pt idx="2">
                  <c:v>0.0056741726341146695</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23989794396858796</c:v>
                </c:pt>
                <c:pt idx="1">
                  <c:v>0.0021192597475316647</c:v>
                </c:pt>
                <c:pt idx="2">
                  <c:v>0.0029829398424781927</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8939843271094617</c:v>
                </c:pt>
                <c:pt idx="1">
                  <c:v>0.005198919815433031</c:v>
                </c:pt>
                <c:pt idx="2">
                  <c:v>0.004177997760442642</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22034824963965607</c:v>
                </c:pt>
                <c:pt idx="1">
                  <c:v>0.002268104077625862</c:v>
                </c:pt>
                <c:pt idx="2">
                  <c:v>0.0018819809731723612</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5593200682582547</c:v>
                </c:pt>
                <c:pt idx="1">
                  <c:v>0.016135434164735233</c:v>
                </c:pt>
                <c:pt idx="2">
                  <c:v>0.027279314206133377</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2.982156762040458e-05</c:v>
                </c:pt>
                <c:pt idx="1">
                  <c:v>1.0631737863871228e-05</c:v>
                </c:pt>
                <c:pt idx="2">
                  <c:v>4.704952432930903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331996</c:v>
                </c:pt>
                <c:pt idx="1">
                  <c:v>27.086635</c:v>
                </c:pt>
                <c:pt idx="2">
                  <c:v>2.0560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02</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3.0249</c:v>
                </c:pt>
                <c:pt idx="1">
                  <c:v>55.7279</c:v>
                </c:pt>
                <c:pt idx="2">
                  <c:v>14.05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8748362322114298</c:v>
                </c:pt>
                <c:pt idx="1">
                  <c:v>0.8544803535167906</c:v>
                </c:pt>
                <c:pt idx="2">
                  <c:v>0.91822558459422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331996</c:v>
                </c:pt>
                <c:pt idx="1">
                  <c:v>27.086635</c:v>
                </c:pt>
                <c:pt idx="2">
                  <c:v>2.0560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02</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3.0249</c:v>
                </c:pt>
                <c:pt idx="1">
                  <c:v>55.7279</c:v>
                </c:pt>
                <c:pt idx="2">
                  <c:v>14.05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7</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8748362322114298</c:v>
                </c:pt>
                <c:pt idx="1">
                  <c:v>0.8544803535167906</c:v>
                </c:pt>
                <c:pt idx="2">
                  <c:v>0.91822558459422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941</c:v>
                </c:pt>
                <c:pt idx="1">
                  <c:v>0.003308</c:v>
                </c:pt>
                <c:pt idx="2">
                  <c:v>0.001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57</c:v>
                </c:pt>
                <c:pt idx="1">
                  <c:v>0.000371</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25</c:v>
                </c:pt>
                <c:pt idx="1">
                  <c:v>0.001312</c:v>
                </c:pt>
                <c:pt idx="2">
                  <c:v>0.0005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6806</c:v>
                </c:pt>
                <c:pt idx="1">
                  <c:v>0.129814</c:v>
                </c:pt>
                <c:pt idx="2">
                  <c:v>0.0570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987</c:v>
                </c:pt>
                <c:pt idx="1">
                  <c:v>0.01595</c:v>
                </c:pt>
                <c:pt idx="2">
                  <c:v>0.0016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89</c:v>
                </c:pt>
                <c:pt idx="1">
                  <c:v>0.054713</c:v>
                </c:pt>
                <c:pt idx="2">
                  <c:v>0.0222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12154</c:v>
                </c:pt>
                <c:pt idx="1">
                  <c:v>1.313612</c:v>
                </c:pt>
                <c:pt idx="2">
                  <c:v>0.0991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56.31</a:t>
                    </a:r>
                  </a:p>
                </c:rich>
              </c:tx>
              <c:dLblPos val="t"/>
              <c:showLegendKey val="0"/>
              <c:showVal val="1"/>
              <c:showCatName val="0"/>
              <c:showSerName val="0"/>
              <c:showPercent val="0"/>
              <c:showBubbleSize val="0"/>
            </c:dLbl>
            <c:dLbl>
              <c:idx val="2"/>
              <c:tx>
                <c:rich>
                  <a:bodyPr/>
                  <a:lstStyle/>
                  <a:p>
                    <a:r>
                      <a:t>14.1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0.223</c:v>
                </c:pt>
                <c:pt idx="1">
                  <c:v>56.3081</c:v>
                </c:pt>
                <c:pt idx="2">
                  <c:v>14.14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98</a:t>
                    </a:r>
                  </a:p>
                </c:rich>
              </c:tx>
              <c:dLblPos val="ctr"/>
              <c:showLegendKey val="0"/>
              <c:showVal val="1"/>
              <c:showCatName val="0"/>
              <c:showSerName val="0"/>
              <c:showPercent val="0"/>
              <c:showBubbleSize val="0"/>
            </c:dLbl>
            <c:dLbl>
              <c:idx val="1"/>
              <c:tx>
                <c:rich>
                  <a:bodyPr/>
                  <a:lstStyle/>
                  <a:p>
                    <a:r>
                      <a:t>90</a:t>
                    </a:r>
                  </a:p>
                </c:rich>
              </c:tx>
              <c:dLblPos val="ctr"/>
              <c:showLegendKey val="0"/>
              <c:showVal val="1"/>
              <c:showCatName val="0"/>
              <c:showSerName val="0"/>
              <c:showPercent val="0"/>
              <c:showBubbleSize val="0"/>
            </c:dLbl>
            <c:dLbl>
              <c:idx val="2"/>
              <c:tx>
                <c:rich>
                  <a:bodyPr/>
                  <a:lstStyle/>
                  <a:p>
                    <a:r>
                      <a:t>95</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9775463716238204</c:v>
                </c:pt>
                <c:pt idx="1">
                  <c:v>0.8993258540813316</c:v>
                </c:pt>
                <c:pt idx="2">
                  <c:v>0.94938794275971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13036</c:v>
                </c:pt>
                <c:pt idx="1">
                  <c:v>1.10685</c:v>
                </c:pt>
                <c:pt idx="2">
                  <c:v>0.1031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dLblPos val="t"/>
              <c:showLegendKey val="0"/>
              <c:showVal val="1"/>
              <c:showCatName val="0"/>
              <c:showSerName val="0"/>
              <c:showPercent val="0"/>
              <c:showBubbleSize val="0"/>
            </c:dLbl>
            <c:dLbl>
              <c:idx val="1"/>
              <c:tx>
                <c:rich>
                  <a:bodyPr/>
                  <a:lstStyle/>
                  <a:p>
                    <a:r>
                      <a:t>62.34</a:t>
                    </a:r>
                  </a:p>
                </c:rich>
              </c:tx>
              <c:dLblPos val="t"/>
              <c:showLegendKey val="0"/>
              <c:showVal val="1"/>
              <c:showCatName val="0"/>
              <c:showSerName val="0"/>
              <c:showPercent val="0"/>
              <c:showBubbleSize val="0"/>
            </c:dLbl>
            <c:dLbl>
              <c:idx val="2"/>
              <c:tx>
                <c:rich>
                  <a:bodyPr/>
                  <a:lstStyle/>
                  <a:p>
                    <a:r>
                      <a:t>13.6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5.0211</c:v>
                </c:pt>
                <c:pt idx="1">
                  <c:v>62.3437</c:v>
                </c:pt>
                <c:pt idx="2">
                  <c:v>13.629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6</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2.057449494949495</c:v>
                </c:pt>
                <c:pt idx="1">
                  <c:v>0.8631183302986233</c:v>
                </c:pt>
                <c:pt idx="2">
                  <c:v>0.81048469508073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19</c:v>
                </c:pt>
                <c:pt idx="1">
                  <c:v>0.002792</c:v>
                </c:pt>
                <c:pt idx="2">
                  <c:v>0.001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74</c:v>
                </c:pt>
                <c:pt idx="1">
                  <c:v>0.000184</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29</c:v>
                </c:pt>
                <c:pt idx="1">
                  <c:v>0.000984</c:v>
                </c:pt>
                <c:pt idx="2">
                  <c:v>0.0003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39218</c:v>
                </c:pt>
                <c:pt idx="1">
                  <c:v>3.490185</c:v>
                </c:pt>
                <c:pt idx="2">
                  <c:v>0.30024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0</a:t>
                    </a:r>
                  </a:p>
                </c:rich>
              </c:tx>
              <c:dLblPos val="t"/>
              <c:showLegendKey val="0"/>
              <c:showVal val="1"/>
              <c:showCatName val="0"/>
              <c:showSerName val="0"/>
              <c:showPercent val="0"/>
              <c:showBubbleSize val="0"/>
            </c:dLbl>
            <c:dLbl>
              <c:idx val="1"/>
              <c:tx>
                <c:rich>
                  <a:bodyPr/>
                  <a:lstStyle/>
                  <a:p>
                    <a:r>
                      <a:t>58.76</a:t>
                    </a:r>
                  </a:p>
                </c:rich>
              </c:tx>
              <c:dLblPos val="t"/>
              <c:showLegendKey val="0"/>
              <c:showVal val="1"/>
              <c:showCatName val="0"/>
              <c:showSerName val="0"/>
              <c:showPercent val="0"/>
              <c:showBubbleSize val="0"/>
            </c:dLbl>
            <c:dLbl>
              <c:idx val="2"/>
              <c:tx>
                <c:rich>
                  <a:bodyPr/>
                  <a:lstStyle/>
                  <a:p>
                    <a:r>
                      <a:t>13.70</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3.3024</c:v>
                </c:pt>
                <c:pt idx="1">
                  <c:v>58.7623</c:v>
                </c:pt>
                <c:pt idx="2">
                  <c:v>13.69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71</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7055753674871705</c:v>
                </c:pt>
                <c:pt idx="1">
                  <c:v>0.8632031548526635</c:v>
                </c:pt>
                <c:pt idx="2">
                  <c:v>0.78802640385296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39218</c:v>
                </c:pt>
                <c:pt idx="1">
                  <c:v>3.490185</c:v>
                </c:pt>
                <c:pt idx="2">
                  <c:v>0.30024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30</a:t>
                    </a:r>
                  </a:p>
                </c:rich>
              </c:tx>
              <c:dLblPos val="t"/>
              <c:showLegendKey val="0"/>
              <c:showVal val="1"/>
              <c:showCatName val="0"/>
              <c:showSerName val="0"/>
              <c:showPercent val="0"/>
              <c:showBubbleSize val="0"/>
            </c:dLbl>
            <c:dLbl>
              <c:idx val="1"/>
              <c:tx>
                <c:rich>
                  <a:bodyPr/>
                  <a:lstStyle/>
                  <a:p>
                    <a:r>
                      <a:t>58.76</a:t>
                    </a:r>
                  </a:p>
                </c:rich>
              </c:tx>
              <c:dLblPos val="t"/>
              <c:showLegendKey val="0"/>
              <c:showVal val="1"/>
              <c:showCatName val="0"/>
              <c:showSerName val="0"/>
              <c:showPercent val="0"/>
              <c:showBubbleSize val="0"/>
            </c:dLbl>
            <c:dLbl>
              <c:idx val="2"/>
              <c:tx>
                <c:rich>
                  <a:bodyPr/>
                  <a:lstStyle/>
                  <a:p>
                    <a:r>
                      <a:t>13.70</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3.3024</c:v>
                </c:pt>
                <c:pt idx="1">
                  <c:v>58.7623</c:v>
                </c:pt>
                <c:pt idx="2">
                  <c:v>13.69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577</c:v>
                </c:pt>
                <c:pt idx="1">
                  <c:v>0.110139</c:v>
                </c:pt>
                <c:pt idx="2">
                  <c:v>0.0464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295</c:v>
                </c:pt>
                <c:pt idx="1">
                  <c:v>0.008053</c:v>
                </c:pt>
                <c:pt idx="2">
                  <c:v>0.0015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986</c:v>
                </c:pt>
                <c:pt idx="1">
                  <c:v>0.040663</c:v>
                </c:pt>
                <c:pt idx="2">
                  <c:v>0.01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71</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7055753674871705</c:v>
                </c:pt>
                <c:pt idx="1">
                  <c:v>0.8632031548526635</c:v>
                </c:pt>
                <c:pt idx="2">
                  <c:v>0.78802640385296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1592</c:v>
                </c:pt>
                <c:pt idx="1">
                  <c:v>1.554442</c:v>
                </c:pt>
                <c:pt idx="2">
                  <c:v>0.106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8</a:t>
                    </a:r>
                  </a:p>
                </c:rich>
              </c:tx>
              <c:dLblPos val="t"/>
              <c:showLegendKey val="0"/>
              <c:showVal val="1"/>
              <c:showCatName val="0"/>
              <c:showSerName val="0"/>
              <c:showPercent val="0"/>
              <c:showBubbleSize val="0"/>
            </c:dLbl>
            <c:dLbl>
              <c:idx val="1"/>
              <c:tx>
                <c:rich>
                  <a:bodyPr/>
                  <a:lstStyle/>
                  <a:p>
                    <a:r>
                      <a:t>54.93</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1.4845</c:v>
                </c:pt>
                <c:pt idx="1">
                  <c:v>54.9331</c:v>
                </c:pt>
                <c:pt idx="2">
                  <c:v>13.72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34</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9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3431198852611153</c:v>
                </c:pt>
                <c:pt idx="1">
                  <c:v>0.8663922570792378</c:v>
                </c:pt>
                <c:pt idx="2">
                  <c:v>0.97333198785399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12003</c:v>
                </c:pt>
                <c:pt idx="1">
                  <c:v>1.234371</c:v>
                </c:pt>
                <c:pt idx="2">
                  <c:v>0.0752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59</a:t>
                    </a:r>
                  </a:p>
                </c:rich>
              </c:tx>
              <c:dLblPos val="t"/>
              <c:showLegendKey val="0"/>
              <c:showVal val="1"/>
              <c:showCatName val="0"/>
              <c:showSerName val="0"/>
              <c:showPercent val="0"/>
              <c:showBubbleSize val="0"/>
            </c:dLbl>
            <c:dLbl>
              <c:idx val="1"/>
              <c:tx>
                <c:rich>
                  <a:bodyPr/>
                  <a:lstStyle/>
                  <a:p>
                    <a:r>
                      <a:t>55.40</a:t>
                    </a:r>
                  </a:p>
                </c:rich>
              </c:tx>
              <c:dLblPos val="t"/>
              <c:showLegendKey val="0"/>
              <c:showVal val="1"/>
              <c:showCatName val="0"/>
              <c:showSerName val="0"/>
              <c:showPercent val="0"/>
              <c:showBubbleSize val="0"/>
            </c:dLbl>
            <c:dLbl>
              <c:idx val="2"/>
              <c:tx>
                <c:rich>
                  <a:bodyPr/>
                  <a:lstStyle/>
                  <a:p>
                    <a:r>
                      <a:t>13.7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1.5881</c:v>
                </c:pt>
                <c:pt idx="1">
                  <c:v>55.4002</c:v>
                </c:pt>
                <c:pt idx="2">
                  <c:v>13.76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67</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9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666851826135259</c:v>
                </c:pt>
                <c:pt idx="1">
                  <c:v>0.8805708436029777</c:v>
                </c:pt>
                <c:pt idx="2">
                  <c:v>0.97346907096473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08444</c:v>
                </c:pt>
                <c:pt idx="1">
                  <c:v>0.687083</c:v>
                </c:pt>
                <c:pt idx="2">
                  <c:v>0.0981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54.36</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1.3772</c:v>
                </c:pt>
                <c:pt idx="1">
                  <c:v>54.3621</c:v>
                </c:pt>
                <c:pt idx="2">
                  <c:v>13.86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9</a:t>
                    </a:r>
                  </a:p>
                </c:rich>
              </c:tx>
              <c:dLblPos val="ctr"/>
              <c:showLegendKey val="0"/>
              <c:showVal val="1"/>
              <c:showCatName val="0"/>
              <c:showSerName val="0"/>
              <c:showPercent val="0"/>
              <c:showBubbleSize val="0"/>
            </c:dLbl>
            <c:dLbl>
              <c:idx val="1"/>
              <c:tx>
                <c:rich>
                  <a:bodyPr/>
                  <a:lstStyle/>
                  <a:p>
                    <a:r>
                      <a:t>79</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2.0932077342588</c:v>
                </c:pt>
                <c:pt idx="1">
                  <c:v>0.7851569552845993</c:v>
                </c:pt>
                <c:pt idx="2">
                  <c:v>0.869248965633333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04125</c:v>
                </c:pt>
                <c:pt idx="1">
                  <c:v>0.400577</c:v>
                </c:pt>
                <c:pt idx="2">
                  <c:v>0.0919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46</a:t>
                    </a:r>
                  </a:p>
                </c:rich>
              </c:tx>
              <c:dLblPos val="t"/>
              <c:showLegendKey val="0"/>
              <c:showVal val="1"/>
              <c:showCatName val="0"/>
              <c:showSerName val="0"/>
              <c:showPercent val="0"/>
              <c:showBubbleSize val="0"/>
            </c:dLbl>
            <c:dLbl>
              <c:idx val="1"/>
              <c:tx>
                <c:rich>
                  <a:bodyPr/>
                  <a:lstStyle/>
                  <a:p>
                    <a:r>
                      <a:t>55.89</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19.4575</c:v>
                </c:pt>
                <c:pt idx="1">
                  <c:v>55.8919</c:v>
                </c:pt>
                <c:pt idx="2">
                  <c:v>13.72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41</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2.406651108518086</c:v>
                </c:pt>
                <c:pt idx="1">
                  <c:v>0.8634111223911352</c:v>
                </c:pt>
                <c:pt idx="2">
                  <c:v>0.96000417820024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004125</c:v>
                </c:pt>
                <c:pt idx="1">
                  <c:v>0.400577</c:v>
                </c:pt>
                <c:pt idx="2">
                  <c:v>0.0919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46</a:t>
                    </a:r>
                  </a:p>
                </c:rich>
              </c:tx>
              <c:dLblPos val="t"/>
              <c:showLegendKey val="0"/>
              <c:showVal val="1"/>
              <c:showCatName val="0"/>
              <c:showSerName val="0"/>
              <c:showPercent val="0"/>
              <c:showBubbleSize val="0"/>
            </c:dLbl>
            <c:dLbl>
              <c:idx val="1"/>
              <c:tx>
                <c:rich>
                  <a:bodyPr/>
                  <a:lstStyle/>
                  <a:p>
                    <a:r>
                      <a:t>55.89</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19.4575</c:v>
                </c:pt>
                <c:pt idx="1">
                  <c:v>55.8919</c:v>
                </c:pt>
                <c:pt idx="2">
                  <c:v>13.72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41</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2.406651108518086</c:v>
                </c:pt>
                <c:pt idx="1">
                  <c:v>0.8634111223911352</c:v>
                </c:pt>
                <c:pt idx="2">
                  <c:v>0.96000417820024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157868</c:v>
                </c:pt>
                <c:pt idx="1">
                  <c:v>13.909769</c:v>
                </c:pt>
                <c:pt idx="2">
                  <c:v>0.9719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25</a:t>
                    </a:r>
                  </a:p>
                </c:rich>
              </c:tx>
              <c:dLblPos val="t"/>
              <c:showLegendKey val="0"/>
              <c:showVal val="1"/>
              <c:showCatName val="0"/>
              <c:showSerName val="0"/>
              <c:showPercent val="0"/>
              <c:showBubbleSize val="0"/>
            </c:dLbl>
            <c:dLbl>
              <c:idx val="1"/>
              <c:tx>
                <c:rich>
                  <a:bodyPr/>
                  <a:lstStyle/>
                  <a:p>
                    <a:r>
                      <a:t>56.41</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3.2535</c:v>
                </c:pt>
                <c:pt idx="1">
                  <c:v>56.4108</c:v>
                </c:pt>
                <c:pt idx="2">
                  <c:v>14.058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21</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2.206771226481031</c:v>
                </c:pt>
                <c:pt idx="1">
                  <c:v>0.8509543143121392</c:v>
                </c:pt>
                <c:pt idx="2">
                  <c:v>0.93494864341271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0.116686</c:v>
                </c:pt>
                <c:pt idx="1">
                  <c:v>11.118587</c:v>
                </c:pt>
                <c:pt idx="2">
                  <c:v>0.8428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02</a:t>
                    </a:r>
                  </a:p>
                </c:rich>
              </c:tx>
              <c:dLblPos val="t"/>
              <c:showLegendKey val="0"/>
              <c:showVal val="1"/>
              <c:showCatName val="0"/>
              <c:showSerName val="0"/>
              <c:showPercent val="0"/>
              <c:showBubbleSize val="0"/>
            </c:dLbl>
            <c:dLbl>
              <c:idx val="1"/>
              <c:tx>
                <c:rich>
                  <a:bodyPr/>
                  <a:lstStyle/>
                  <a:p>
                    <a:r>
                      <a:t>56.20</a:t>
                    </a:r>
                  </a:p>
                </c:rich>
              </c:tx>
              <c:dLblPos val="t"/>
              <c:showLegendKey val="0"/>
              <c:showVal val="1"/>
              <c:showCatName val="0"/>
              <c:showSerName val="0"/>
              <c:showPercent val="0"/>
              <c:showBubbleSize val="0"/>
            </c:dLbl>
            <c:dLbl>
              <c:idx val="2"/>
              <c:tx>
                <c:rich>
                  <a:bodyPr/>
                  <a:lstStyle/>
                  <a:p>
                    <a:r>
                      <a:t>14.34</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C$2:$C$4</c:f>
              <c:numCache>
                <c:formatCode>General</c:formatCode>
                <c:ptCount val="3"/>
                <c:pt idx="0">
                  <c:v>22.0204</c:v>
                </c:pt>
                <c:pt idx="1">
                  <c:v>56.2039</c:v>
                </c:pt>
                <c:pt idx="2">
                  <c:v>14.33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84</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ffervescents Sans Alcool</c:v>
                </c:pt>
                <c:pt idx="1">
                  <c:v>Champagnes</c:v>
                </c:pt>
                <c:pt idx="2">
                  <c:v>Mousseux</c:v>
                </c:pt>
              </c:strCache>
            </c:strRef>
          </c:cat>
          <c:val>
            <c:numRef>
              <c:f>Sheet1!$B$2:$B$4</c:f>
              <c:numCache>
                <c:formatCode>General</c:formatCode>
                <c:ptCount val="3"/>
                <c:pt idx="0">
                  <c:v>1.8350317670000629</c:v>
                </c:pt>
                <c:pt idx="1">
                  <c:v>0.8410589218493424</c:v>
                </c:pt>
                <c:pt idx="2">
                  <c:v>0.92725976502118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rut Nature</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strCache>
            </c:strRef>
          </c:cat>
          <c:val>
            <c:numRef>
              <c:f>Sheet1!$B$2:$B$20</c:f>
              <c:numCache>
                <c:formatCode>General</c:formatCode>
                <c:ptCount val="19"/>
                <c:pt idx="0">
                  <c:v>0.365111</c:v>
                </c:pt>
                <c:pt idx="1">
                  <c:v>475.474501</c:v>
                </c:pt>
                <c:pt idx="2">
                  <c:v>175.659287</c:v>
                </c:pt>
                <c:pt idx="3">
                  <c:v>131.087653</c:v>
                </c:pt>
                <c:pt idx="4">
                  <c:v>103.799675</c:v>
                </c:pt>
                <c:pt idx="5">
                  <c:v>70.264662</c:v>
                </c:pt>
                <c:pt idx="6">
                  <c:v>43.903524</c:v>
                </c:pt>
                <c:pt idx="7">
                  <c:v>41.239192</c:v>
                </c:pt>
                <c:pt idx="8">
                  <c:v>35.2556</c:v>
                </c:pt>
                <c:pt idx="9">
                  <c:v>23.841187</c:v>
                </c:pt>
                <c:pt idx="10">
                  <c:v>20.837534</c:v>
                </c:pt>
                <c:pt idx="11">
                  <c:v>16.217922</c:v>
                </c:pt>
                <c:pt idx="12">
                  <c:v>11.214365</c:v>
                </c:pt>
                <c:pt idx="13">
                  <c:v>5.073937</c:v>
                </c:pt>
                <c:pt idx="14">
                  <c:v>4.461735</c:v>
                </c:pt>
                <c:pt idx="15">
                  <c:v>2.883031</c:v>
                </c:pt>
                <c:pt idx="16">
                  <c:v>2.614066</c:v>
                </c:pt>
                <c:pt idx="17">
                  <c:v>0.550037</c:v>
                </c:pt>
                <c:pt idx="18">
                  <c:v>0.38535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57</a:t>
                    </a:r>
                  </a:p>
                </c:rich>
              </c:tx>
              <c:dLblPos val="t"/>
              <c:showLegendKey val="0"/>
              <c:showVal val="1"/>
              <c:showCatName val="0"/>
              <c:showSerName val="0"/>
              <c:showPercent val="0"/>
              <c:showBubbleSize val="0"/>
            </c:dLbl>
            <c:dLbl>
              <c:idx val="1"/>
              <c:tx>
                <c:rich>
                  <a:bodyPr/>
                  <a:lstStyle/>
                  <a:p>
                    <a:r>
                      <a:t>26.36</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8.23</a:t>
                    </a:r>
                  </a:p>
                </c:rich>
              </c:tx>
              <c:dLblPos val="t"/>
              <c:showLegendKey val="0"/>
              <c:showVal val="1"/>
              <c:showCatName val="0"/>
              <c:showSerName val="0"/>
              <c:showPercent val="0"/>
              <c:showBubbleSize val="0"/>
            </c:dLbl>
            <c:dLbl>
              <c:idx val="4"/>
              <c:tx>
                <c:rich>
                  <a:bodyPr/>
                  <a:lstStyle/>
                  <a:p>
                    <a:r>
                      <a:t>6.93</a:t>
                    </a:r>
                  </a:p>
                </c:rich>
              </c:tx>
              <c:dLblPos val="t"/>
              <c:showLegendKey val="0"/>
              <c:showVal val="1"/>
              <c:showCatName val="0"/>
              <c:showSerName val="0"/>
              <c:showPercent val="0"/>
              <c:showBubbleSize val="0"/>
            </c:dLbl>
            <c:dLbl>
              <c:idx val="5"/>
              <c:tx>
                <c:rich>
                  <a:bodyPr/>
                  <a:lstStyle/>
                  <a:p>
                    <a:r>
                      <a:t>7.18</a:t>
                    </a:r>
                  </a:p>
                </c:rich>
              </c:tx>
              <c:dLblPos val="t"/>
              <c:showLegendKey val="0"/>
              <c:showVal val="1"/>
              <c:showCatName val="0"/>
              <c:showSerName val="0"/>
              <c:showPercent val="0"/>
              <c:showBubbleSize val="0"/>
            </c:dLbl>
            <c:dLbl>
              <c:idx val="6"/>
              <c:tx>
                <c:rich>
                  <a:bodyPr/>
                  <a:lstStyle/>
                  <a:p>
                    <a:r>
                      <a:t>41.98</a:t>
                    </a:r>
                  </a:p>
                </c:rich>
              </c:tx>
              <c:dLblPos val="t"/>
              <c:showLegendKey val="0"/>
              <c:showVal val="1"/>
              <c:showCatName val="0"/>
              <c:showSerName val="0"/>
              <c:showPercent val="0"/>
              <c:showBubbleSize val="0"/>
            </c:dLbl>
            <c:dLbl>
              <c:idx val="7"/>
              <c:tx>
                <c:rich>
                  <a:bodyPr/>
                  <a:lstStyle/>
                  <a:p>
                    <a:r>
                      <a:t>9.48</a:t>
                    </a:r>
                  </a:p>
                </c:rich>
              </c:tx>
              <c:dLblPos val="t"/>
              <c:showLegendKey val="0"/>
              <c:showVal val="1"/>
              <c:showCatName val="0"/>
              <c:showSerName val="0"/>
              <c:showPercent val="0"/>
              <c:showBubbleSize val="0"/>
            </c:dLbl>
            <c:dLbl>
              <c:idx val="8"/>
              <c:tx>
                <c:rich>
                  <a:bodyPr/>
                  <a:lstStyle/>
                  <a:p>
                    <a:r>
                      <a:t>6.51</a:t>
                    </a:r>
                  </a:p>
                </c:rich>
              </c:tx>
              <c:dLblPos val="t"/>
              <c:showLegendKey val="0"/>
              <c:showVal val="1"/>
              <c:showCatName val="0"/>
              <c:showSerName val="0"/>
              <c:showPercent val="0"/>
              <c:showBubbleSize val="0"/>
            </c:dLbl>
            <c:dLbl>
              <c:idx val="9"/>
              <c:tx>
                <c:rich>
                  <a:bodyPr/>
                  <a:lstStyle/>
                  <a:p>
                    <a:r>
                      <a:t>5.14</a:t>
                    </a:r>
                  </a:p>
                </c:rich>
              </c:tx>
              <c:dLblPos val="t"/>
              <c:showLegendKey val="0"/>
              <c:showVal val="1"/>
              <c:showCatName val="0"/>
              <c:showSerName val="0"/>
              <c:showPercent val="0"/>
              <c:showBubbleSize val="0"/>
            </c:dLbl>
            <c:dLbl>
              <c:idx val="10"/>
              <c:tx>
                <c:rich>
                  <a:bodyPr/>
                  <a:lstStyle/>
                  <a:p>
                    <a:r>
                      <a:t>30.84</a:t>
                    </a:r>
                  </a:p>
                </c:rich>
              </c:tx>
              <c:dLblPos val="t"/>
              <c:showLegendKey val="0"/>
              <c:showVal val="1"/>
              <c:showCatName val="0"/>
              <c:showSerName val="0"/>
              <c:showPercent val="0"/>
              <c:showBubbleSize val="0"/>
            </c:dLbl>
            <c:dLbl>
              <c:idx val="11"/>
              <c:tx>
                <c:rich>
                  <a:bodyPr/>
                  <a:lstStyle/>
                  <a:p>
                    <a:r>
                      <a:t>67.49</a:t>
                    </a:r>
                  </a:p>
                </c:rich>
              </c:tx>
              <c:dLblPos val="t"/>
              <c:showLegendKey val="0"/>
              <c:showVal val="1"/>
              <c:showCatName val="0"/>
              <c:showSerName val="0"/>
              <c:showPercent val="0"/>
              <c:showBubbleSize val="0"/>
            </c:dLbl>
            <c:dLbl>
              <c:idx val="12"/>
              <c:tx>
                <c:rich>
                  <a:bodyPr/>
                  <a:lstStyle/>
                  <a:p>
                    <a:r>
                      <a:t>7.56</a:t>
                    </a:r>
                  </a:p>
                </c:rich>
              </c:tx>
              <c:dLblPos val="t"/>
              <c:showLegendKey val="0"/>
              <c:showVal val="1"/>
              <c:showCatName val="0"/>
              <c:showSerName val="0"/>
              <c:showPercent val="0"/>
              <c:showBubbleSize val="0"/>
            </c:dLbl>
            <c:dLbl>
              <c:idx val="13"/>
              <c:tx>
                <c:rich>
                  <a:bodyPr/>
                  <a:lstStyle/>
                  <a:p>
                    <a:r>
                      <a:t>6.51</a:t>
                    </a:r>
                  </a:p>
                </c:rich>
              </c:tx>
              <c:dLblPos val="t"/>
              <c:showLegendKey val="0"/>
              <c:showVal val="1"/>
              <c:showCatName val="0"/>
              <c:showSerName val="0"/>
              <c:showPercent val="0"/>
              <c:showBubbleSize val="0"/>
            </c:dLbl>
            <c:dLbl>
              <c:idx val="14"/>
              <c:tx>
                <c:rich>
                  <a:bodyPr/>
                  <a:lstStyle/>
                  <a:p>
                    <a:r>
                      <a:t>42.13</a:t>
                    </a:r>
                  </a:p>
                </c:rich>
              </c:tx>
              <c:dLblPos val="t"/>
              <c:showLegendKey val="0"/>
              <c:showVal val="1"/>
              <c:showCatName val="0"/>
              <c:showSerName val="0"/>
              <c:showPercent val="0"/>
              <c:showBubbleSize val="0"/>
            </c:dLbl>
            <c:dLbl>
              <c:idx val="15"/>
              <c:tx>
                <c:rich>
                  <a:bodyPr/>
                  <a:lstStyle/>
                  <a:p>
                    <a:r>
                      <a:t>39.94</a:t>
                    </a:r>
                  </a:p>
                </c:rich>
              </c:tx>
              <c:dLblPos val="t"/>
              <c:showLegendKey val="0"/>
              <c:showVal val="1"/>
              <c:showCatName val="0"/>
              <c:showSerName val="0"/>
              <c:showPercent val="0"/>
              <c:showBubbleSize val="0"/>
            </c:dLbl>
            <c:dLbl>
              <c:idx val="16"/>
              <c:tx>
                <c:rich>
                  <a:bodyPr/>
                  <a:lstStyle/>
                  <a:p>
                    <a:r>
                      <a:t>176.28</a:t>
                    </a:r>
                  </a:p>
                </c:rich>
              </c:tx>
              <c:dLblPos val="t"/>
              <c:showLegendKey val="0"/>
              <c:showVal val="1"/>
              <c:showCatName val="0"/>
              <c:showSerName val="0"/>
              <c:showPercent val="0"/>
              <c:showBubbleSize val="0"/>
            </c:dLbl>
            <c:dLbl>
              <c:idx val="17"/>
              <c:tx>
                <c:rich>
                  <a:bodyPr/>
                  <a:lstStyle/>
                  <a:p>
                    <a:r>
                      <a:t>6.62</a:t>
                    </a:r>
                  </a:p>
                </c:rich>
              </c:tx>
              <c:dLblPos val="t"/>
              <c:showLegendKey val="0"/>
              <c:showVal val="1"/>
              <c:showCatName val="0"/>
              <c:showSerName val="0"/>
              <c:showPercent val="0"/>
              <c:showBubbleSize val="0"/>
            </c:dLbl>
            <c:dLbl>
              <c:idx val="18"/>
              <c:tx>
                <c:rich>
                  <a:bodyPr/>
                  <a:lstStyle/>
                  <a:p>
                    <a:r>
                      <a:t>49.0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rut Nature</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strCache>
            </c:strRef>
          </c:cat>
          <c:val>
            <c:numRef>
              <c:f>Sheet1!$C$2:$C$20</c:f>
              <c:numCache>
                <c:formatCode>General</c:formatCode>
                <c:ptCount val="19"/>
                <c:pt idx="0">
                  <c:v>54.5675</c:v>
                </c:pt>
                <c:pt idx="1">
                  <c:v>26.3617</c:v>
                </c:pt>
                <c:pt idx="2">
                  <c:v>2.94</c:v>
                </c:pt>
                <c:pt idx="3">
                  <c:v>8.228</c:v>
                </c:pt>
                <c:pt idx="4">
                  <c:v>6.9306</c:v>
                </c:pt>
                <c:pt idx="5">
                  <c:v>7.1753</c:v>
                </c:pt>
                <c:pt idx="6">
                  <c:v>41.9837</c:v>
                </c:pt>
                <c:pt idx="7">
                  <c:v>9.4804</c:v>
                </c:pt>
                <c:pt idx="8">
                  <c:v>6.5126</c:v>
                </c:pt>
                <c:pt idx="9">
                  <c:v>5.1375</c:v>
                </c:pt>
                <c:pt idx="10">
                  <c:v>30.8415</c:v>
                </c:pt>
                <c:pt idx="11">
                  <c:v>67.4872</c:v>
                </c:pt>
                <c:pt idx="12">
                  <c:v>7.5561</c:v>
                </c:pt>
                <c:pt idx="13">
                  <c:v>6.5133</c:v>
                </c:pt>
                <c:pt idx="14">
                  <c:v>42.1276</c:v>
                </c:pt>
                <c:pt idx="15">
                  <c:v>39.9367</c:v>
                </c:pt>
                <c:pt idx="16">
                  <c:v>176.2807</c:v>
                </c:pt>
                <c:pt idx="17">
                  <c:v>6.6229</c:v>
                </c:pt>
                <c:pt idx="18">
                  <c:v>49.06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79</a:t>
                    </a:r>
                  </a:p>
                </c:rich>
              </c:tx>
              <c:dLblPos val="ctr"/>
              <c:showLegendKey val="0"/>
              <c:showVal val="1"/>
              <c:showCatName val="0"/>
              <c:showSerName val="0"/>
              <c:showPercent val="0"/>
              <c:showBubbleSize val="0"/>
            </c:dLbl>
            <c:dLbl>
              <c:idx val="1"/>
              <c:tx>
                <c:rich>
                  <a:bodyPr/>
                  <a:lstStyle/>
                  <a:p>
                    <a:r>
                      <a:t>105</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18</a:t>
                    </a:r>
                  </a:p>
                </c:rich>
              </c:tx>
              <c:dLblPos val="ctr"/>
              <c:showLegendKey val="0"/>
              <c:showVal val="1"/>
              <c:showCatName val="0"/>
              <c:showSerName val="0"/>
              <c:showPercent val="0"/>
              <c:showBubbleSize val="0"/>
            </c:dLbl>
            <c:dLbl>
              <c:idx val="4"/>
              <c:tx>
                <c:rich>
                  <a:bodyPr/>
                  <a:lstStyle/>
                  <a:p>
                    <a:r>
                      <a:t>107</a:t>
                    </a:r>
                  </a:p>
                </c:rich>
              </c:tx>
              <c:dLblPos val="ctr"/>
              <c:showLegendKey val="0"/>
              <c:showVal val="1"/>
              <c:showCatName val="0"/>
              <c:showSerName val="0"/>
              <c:showPercent val="0"/>
              <c:showBubbleSize val="0"/>
            </c:dLbl>
            <c:dLbl>
              <c:idx val="5"/>
              <c:tx>
                <c:rich>
                  <a:bodyPr/>
                  <a:lstStyle/>
                  <a:p>
                    <a:r>
                      <a:t>109</a:t>
                    </a:r>
                  </a:p>
                </c:rich>
              </c:tx>
              <c:dLblPos val="ctr"/>
              <c:showLegendKey val="0"/>
              <c:showVal val="1"/>
              <c:showCatName val="0"/>
              <c:showSerName val="0"/>
              <c:showPercent val="0"/>
              <c:showBubbleSize val="0"/>
            </c:dLbl>
            <c:dLbl>
              <c:idx val="6"/>
              <c:tx>
                <c:rich>
                  <a:bodyPr/>
                  <a:lstStyle/>
                  <a:p>
                    <a:r>
                      <a:t>100</a:t>
                    </a:r>
                  </a:p>
                </c:rich>
              </c:tx>
              <c:dLblPos val="ctr"/>
              <c:showLegendKey val="0"/>
              <c:showVal val="1"/>
              <c:showCatName val="0"/>
              <c:showSerName val="0"/>
              <c:showPercent val="0"/>
              <c:showBubbleSize val="0"/>
            </c:dLbl>
            <c:dLbl>
              <c:idx val="7"/>
              <c:tx>
                <c:rich>
                  <a:bodyPr/>
                  <a:lstStyle/>
                  <a:p>
                    <a:r>
                      <a:t>111</a:t>
                    </a:r>
                  </a:p>
                </c:rich>
              </c:tx>
              <c:dLblPos val="ctr"/>
              <c:showLegendKey val="0"/>
              <c:showVal val="1"/>
              <c:showCatName val="0"/>
              <c:showSerName val="0"/>
              <c:showPercent val="0"/>
              <c:showBubbleSize val="0"/>
            </c:dLbl>
            <c:dLbl>
              <c:idx val="8"/>
              <c:tx>
                <c:rich>
                  <a:bodyPr/>
                  <a:lstStyle/>
                  <a:p>
                    <a:r>
                      <a:t>98</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19</a:t>
                    </a:r>
                  </a:p>
                </c:rich>
              </c:tx>
              <c:dLblPos val="ctr"/>
              <c:showLegendKey val="0"/>
              <c:showVal val="1"/>
              <c:showCatName val="0"/>
              <c:showSerName val="0"/>
              <c:showPercent val="0"/>
              <c:showBubbleSize val="0"/>
            </c:dLbl>
            <c:dLbl>
              <c:idx val="11"/>
              <c:tx>
                <c:rich>
                  <a:bodyPr/>
                  <a:lstStyle/>
                  <a:p>
                    <a:r>
                      <a:t>105</a:t>
                    </a:r>
                  </a:p>
                </c:rich>
              </c:tx>
              <c:dLblPos val="ctr"/>
              <c:showLegendKey val="0"/>
              <c:showVal val="1"/>
              <c:showCatName val="0"/>
              <c:showSerName val="0"/>
              <c:showPercent val="0"/>
              <c:showBubbleSize val="0"/>
            </c:dLbl>
            <c:dLbl>
              <c:idx val="12"/>
              <c:tx>
                <c:rich>
                  <a:bodyPr/>
                  <a:lstStyle/>
                  <a:p>
                    <a:r>
                      <a:t>120</a:t>
                    </a:r>
                  </a:p>
                </c:rich>
              </c:tx>
              <c:dLblPos val="ctr"/>
              <c:showLegendKey val="0"/>
              <c:showVal val="1"/>
              <c:showCatName val="0"/>
              <c:showSerName val="0"/>
              <c:showPercent val="0"/>
              <c:showBubbleSize val="0"/>
            </c:dLbl>
            <c:dLbl>
              <c:idx val="13"/>
              <c:tx>
                <c:rich>
                  <a:bodyPr/>
                  <a:lstStyle/>
                  <a:p>
                    <a:r>
                      <a:t>102</a:t>
                    </a:r>
                  </a:p>
                </c:rich>
              </c:tx>
              <c:dLblPos val="ctr"/>
              <c:showLegendKey val="0"/>
              <c:showVal val="1"/>
              <c:showCatName val="0"/>
              <c:showSerName val="0"/>
              <c:showPercent val="0"/>
              <c:showBubbleSize val="0"/>
            </c:dLbl>
            <c:dLbl>
              <c:idx val="14"/>
              <c:tx>
                <c:rich>
                  <a:bodyPr/>
                  <a:lstStyle/>
                  <a:p>
                    <a:r>
                      <a:t>100</a:t>
                    </a:r>
                  </a:p>
                </c:rich>
              </c:tx>
              <c:dLblPos val="ctr"/>
              <c:showLegendKey val="0"/>
              <c:showVal val="1"/>
              <c:showCatName val="0"/>
              <c:showSerName val="0"/>
              <c:showPercent val="0"/>
              <c:showBubbleSize val="0"/>
            </c:dLbl>
            <c:dLbl>
              <c:idx val="15"/>
              <c:tx>
                <c:rich>
                  <a:bodyPr/>
                  <a:lstStyle/>
                  <a:p>
                    <a:r>
                      <a:t>92</a:t>
                    </a:r>
                  </a:p>
                </c:rich>
              </c:tx>
              <c:dLblPos val="ctr"/>
              <c:showLegendKey val="0"/>
              <c:showVal val="1"/>
              <c:showCatName val="0"/>
              <c:showSerName val="0"/>
              <c:showPercent val="0"/>
              <c:showBubbleSize val="0"/>
            </c:dLbl>
            <c:dLbl>
              <c:idx val="16"/>
              <c:tx>
                <c:rich>
                  <a:bodyPr/>
                  <a:lstStyle/>
                  <a:p>
                    <a:r>
                      <a:t>95</a:t>
                    </a:r>
                  </a:p>
                </c:rich>
              </c:tx>
              <c:dLblPos val="ctr"/>
              <c:showLegendKey val="0"/>
              <c:showVal val="1"/>
              <c:showCatName val="0"/>
              <c:showSerName val="0"/>
              <c:showPercent val="0"/>
              <c:showBubbleSize val="0"/>
            </c:dLbl>
            <c:dLbl>
              <c:idx val="17"/>
              <c:tx>
                <c:rich>
                  <a:bodyPr/>
                  <a:lstStyle/>
                  <a:p>
                    <a:r>
                      <a:t>150</a:t>
                    </a:r>
                  </a:p>
                </c:rich>
              </c:tx>
              <c:dLblPos val="ctr"/>
              <c:showLegendKey val="0"/>
              <c:showVal val="1"/>
              <c:showCatName val="0"/>
              <c:showSerName val="0"/>
              <c:showPercent val="0"/>
              <c:showBubbleSize val="0"/>
            </c:dLbl>
            <c:dLbl>
              <c:idx val="18"/>
              <c:tx>
                <c:rich>
                  <a:bodyPr/>
                  <a:lstStyle/>
                  <a:p>
                    <a:r>
                      <a:t>9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rut Nature</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strCache>
            </c:strRef>
          </c:cat>
          <c:val>
            <c:numRef>
              <c:f>Sheet1!$B$2:$B$20</c:f>
              <c:numCache>
                <c:formatCode>General</c:formatCode>
                <c:ptCount val="19"/>
                <c:pt idx="0">
                  <c:v>0.7927475877402489</c:v>
                </c:pt>
                <c:pt idx="1">
                  <c:v>1.0451774885245448</c:v>
                </c:pt>
                <c:pt idx="2">
                  <c:v>1.0422842541901067</c:v>
                </c:pt>
                <c:pt idx="3">
                  <c:v>1.1806126211216847</c:v>
                </c:pt>
                <c:pt idx="4">
                  <c:v>1.0711159110370854</c:v>
                </c:pt>
                <c:pt idx="5">
                  <c:v>1.0863954892561904</c:v>
                </c:pt>
                <c:pt idx="6">
                  <c:v>0.9983118968556904</c:v>
                </c:pt>
                <c:pt idx="7">
                  <c:v>1.1078585947145514</c:v>
                </c:pt>
                <c:pt idx="8">
                  <c:v>0.9791020058627369</c:v>
                </c:pt>
                <c:pt idx="9">
                  <c:v>1.2283905355778855</c:v>
                </c:pt>
                <c:pt idx="10">
                  <c:v>1.1918030848818073</c:v>
                </c:pt>
                <c:pt idx="11">
                  <c:v>1.0484762595400452</c:v>
                </c:pt>
                <c:pt idx="12">
                  <c:v>1.1963361132076478</c:v>
                </c:pt>
                <c:pt idx="13">
                  <c:v>1.016084940468979</c:v>
                </c:pt>
                <c:pt idx="14">
                  <c:v>0.9989591132334344</c:v>
                </c:pt>
                <c:pt idx="15">
                  <c:v>0.9182636308766409</c:v>
                </c:pt>
                <c:pt idx="16">
                  <c:v>0.9521829718723364</c:v>
                </c:pt>
                <c:pt idx="17">
                  <c:v>1.504996251443331</c:v>
                </c:pt>
                <c:pt idx="18">
                  <c:v>0.97685118291672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0.000582</c:v>
                </c:pt>
                <c:pt idx="1">
                  <c:v>41.96401</c:v>
                </c:pt>
                <c:pt idx="2">
                  <c:v>8.118748</c:v>
                </c:pt>
                <c:pt idx="3">
                  <c:v>4.288654</c:v>
                </c:pt>
                <c:pt idx="4">
                  <c:v>2.889115</c:v>
                </c:pt>
                <c:pt idx="5">
                  <c:v>2.539682</c:v>
                </c:pt>
                <c:pt idx="6">
                  <c:v>2.294777</c:v>
                </c:pt>
                <c:pt idx="7">
                  <c:v>1.699952</c:v>
                </c:pt>
                <c:pt idx="8">
                  <c:v>1.095855</c:v>
                </c:pt>
                <c:pt idx="9">
                  <c:v>0.681895</c:v>
                </c:pt>
                <c:pt idx="10">
                  <c:v>0.53435</c:v>
                </c:pt>
                <c:pt idx="11">
                  <c:v>0.49436</c:v>
                </c:pt>
                <c:pt idx="12">
                  <c:v>0.448731</c:v>
                </c:pt>
                <c:pt idx="13">
                  <c:v>0.386415</c:v>
                </c:pt>
                <c:pt idx="14">
                  <c:v>0.28477</c:v>
                </c:pt>
                <c:pt idx="15">
                  <c:v>0.135485</c:v>
                </c:pt>
                <c:pt idx="16">
                  <c:v>0.0732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88</a:t>
                    </a:r>
                  </a:p>
                </c:rich>
              </c:tx>
              <c:dLblPos val="t"/>
              <c:showLegendKey val="0"/>
              <c:showVal val="1"/>
              <c:showCatName val="0"/>
              <c:showSerName val="0"/>
              <c:showPercent val="0"/>
              <c:showBubbleSize val="0"/>
            </c:dLbl>
            <c:dLbl>
              <c:idx val="1"/>
              <c:tx>
                <c:rich>
                  <a:bodyPr/>
                  <a:lstStyle/>
                  <a:p>
                    <a:r>
                      <a:t>52.47</a:t>
                    </a:r>
                  </a:p>
                </c:rich>
              </c:tx>
              <c:dLblPos val="t"/>
              <c:showLegendKey val="0"/>
              <c:showVal val="1"/>
              <c:showCatName val="0"/>
              <c:showSerName val="0"/>
              <c:showPercent val="0"/>
              <c:showBubbleSize val="0"/>
            </c:dLbl>
            <c:dLbl>
              <c:idx val="2"/>
              <c:tx>
                <c:rich>
                  <a:bodyPr/>
                  <a:lstStyle/>
                  <a:p>
                    <a:r>
                      <a:t>97.59</a:t>
                    </a:r>
                  </a:p>
                </c:rich>
              </c:tx>
              <c:dLblPos val="t"/>
              <c:showLegendKey val="0"/>
              <c:showVal val="1"/>
              <c:showCatName val="0"/>
              <c:showSerName val="0"/>
              <c:showPercent val="0"/>
              <c:showBubbleSize val="0"/>
            </c:dLbl>
            <c:dLbl>
              <c:idx val="3"/>
              <c:tx>
                <c:rich>
                  <a:bodyPr/>
                  <a:lstStyle/>
                  <a:p>
                    <a:r>
                      <a:t>75.73</a:t>
                    </a:r>
                  </a:p>
                </c:rich>
              </c:tx>
              <c:dLblPos val="t"/>
              <c:showLegendKey val="0"/>
              <c:showVal val="1"/>
              <c:showCatName val="0"/>
              <c:showSerName val="0"/>
              <c:showPercent val="0"/>
              <c:showBubbleSize val="0"/>
            </c:dLbl>
            <c:dLbl>
              <c:idx val="4"/>
              <c:tx>
                <c:rich>
                  <a:bodyPr/>
                  <a:lstStyle/>
                  <a:p>
                    <a:r>
                      <a:t>39.99</a:t>
                    </a:r>
                  </a:p>
                </c:rich>
              </c:tx>
              <c:dLblPos val="t"/>
              <c:showLegendKey val="0"/>
              <c:showVal val="1"/>
              <c:showCatName val="0"/>
              <c:showSerName val="0"/>
              <c:showPercent val="0"/>
              <c:showBubbleSize val="0"/>
            </c:dLbl>
            <c:dLbl>
              <c:idx val="5"/>
              <c:tx>
                <c:rich>
                  <a:bodyPr/>
                  <a:lstStyle/>
                  <a:p>
                    <a:r>
                      <a:t>180.04</a:t>
                    </a:r>
                  </a:p>
                </c:rich>
              </c:tx>
              <c:dLblPos val="t"/>
              <c:showLegendKey val="0"/>
              <c:showVal val="1"/>
              <c:showCatName val="0"/>
              <c:showSerName val="0"/>
              <c:showPercent val="0"/>
              <c:showBubbleSize val="0"/>
            </c:dLbl>
            <c:dLbl>
              <c:idx val="6"/>
              <c:tx>
                <c:rich>
                  <a:bodyPr/>
                  <a:lstStyle/>
                  <a:p>
                    <a:r>
                      <a:t>44.39</a:t>
                    </a:r>
                  </a:p>
                </c:rich>
              </c:tx>
              <c:dLblPos val="t"/>
              <c:showLegendKey val="0"/>
              <c:showVal val="1"/>
              <c:showCatName val="0"/>
              <c:showSerName val="0"/>
              <c:showPercent val="0"/>
              <c:showBubbleSize val="0"/>
            </c:dLbl>
            <c:dLbl>
              <c:idx val="7"/>
              <c:tx>
                <c:rich>
                  <a:bodyPr/>
                  <a:lstStyle/>
                  <a:p>
                    <a:r>
                      <a:t>11.94</a:t>
                    </a:r>
                  </a:p>
                </c:rich>
              </c:tx>
              <c:dLblPos val="t"/>
              <c:showLegendKey val="0"/>
              <c:showVal val="1"/>
              <c:showCatName val="0"/>
              <c:showSerName val="0"/>
              <c:showPercent val="0"/>
              <c:showBubbleSize val="0"/>
            </c:dLbl>
            <c:dLbl>
              <c:idx val="8"/>
              <c:tx>
                <c:rich>
                  <a:bodyPr/>
                  <a:lstStyle/>
                  <a:p>
                    <a:r>
                      <a:t>15.47</a:t>
                    </a:r>
                  </a:p>
                </c:rich>
              </c:tx>
              <c:dLblPos val="t"/>
              <c:showLegendKey val="0"/>
              <c:showVal val="1"/>
              <c:showCatName val="0"/>
              <c:showSerName val="0"/>
              <c:showPercent val="0"/>
              <c:showBubbleSize val="0"/>
            </c:dLbl>
            <c:dLbl>
              <c:idx val="9"/>
              <c:tx>
                <c:rich>
                  <a:bodyPr/>
                  <a:lstStyle/>
                  <a:p>
                    <a:r>
                      <a:t>23.08</a:t>
                    </a:r>
                  </a:p>
                </c:rich>
              </c:tx>
              <c:dLblPos val="t"/>
              <c:showLegendKey val="0"/>
              <c:showVal val="1"/>
              <c:showCatName val="0"/>
              <c:showSerName val="0"/>
              <c:showPercent val="0"/>
              <c:showBubbleSize val="0"/>
            </c:dLbl>
            <c:dLbl>
              <c:idx val="10"/>
              <c:tx>
                <c:rich>
                  <a:bodyPr/>
                  <a:lstStyle/>
                  <a:p>
                    <a:r>
                      <a:t>17.13</a:t>
                    </a:r>
                  </a:p>
                </c:rich>
              </c:tx>
              <c:dLblPos val="t"/>
              <c:showLegendKey val="0"/>
              <c:showVal val="1"/>
              <c:showCatName val="0"/>
              <c:showSerName val="0"/>
              <c:showPercent val="0"/>
              <c:showBubbleSize val="0"/>
            </c:dLbl>
            <c:dLbl>
              <c:idx val="11"/>
              <c:tx>
                <c:rich>
                  <a:bodyPr/>
                  <a:lstStyle/>
                  <a:p>
                    <a:r>
                      <a:t>20.19</a:t>
                    </a:r>
                  </a:p>
                </c:rich>
              </c:tx>
              <c:dLblPos val="t"/>
              <c:showLegendKey val="0"/>
              <c:showVal val="1"/>
              <c:showCatName val="0"/>
              <c:showSerName val="0"/>
              <c:showPercent val="0"/>
              <c:showBubbleSize val="0"/>
            </c:dLbl>
            <c:dLbl>
              <c:idx val="12"/>
              <c:tx>
                <c:rich>
                  <a:bodyPr/>
                  <a:lstStyle/>
                  <a:p>
                    <a:r>
                      <a:t>13.03</a:t>
                    </a:r>
                  </a:p>
                </c:rich>
              </c:tx>
              <c:dLblPos val="t"/>
              <c:showLegendKey val="0"/>
              <c:showVal val="1"/>
              <c:showCatName val="0"/>
              <c:showSerName val="0"/>
              <c:showPercent val="0"/>
              <c:showBubbleSize val="0"/>
            </c:dLbl>
            <c:dLbl>
              <c:idx val="13"/>
              <c:tx>
                <c:rich>
                  <a:bodyPr/>
                  <a:lstStyle/>
                  <a:p>
                    <a:r>
                      <a:t>48.94</a:t>
                    </a:r>
                  </a:p>
                </c:rich>
              </c:tx>
              <c:dLblPos val="t"/>
              <c:showLegendKey val="0"/>
              <c:showVal val="1"/>
              <c:showCatName val="0"/>
              <c:showSerName val="0"/>
              <c:showPercent val="0"/>
              <c:showBubbleSize val="0"/>
            </c:dLbl>
            <c:dLbl>
              <c:idx val="14"/>
              <c:tx>
                <c:rich>
                  <a:bodyPr/>
                  <a:lstStyle/>
                  <a:p>
                    <a:r>
                      <a:t>61.40</a:t>
                    </a:r>
                  </a:p>
                </c:rich>
              </c:tx>
              <c:dLblPos val="t"/>
              <c:showLegendKey val="0"/>
              <c:showVal val="1"/>
              <c:showCatName val="0"/>
              <c:showSerName val="0"/>
              <c:showPercent val="0"/>
              <c:showBubbleSize val="0"/>
            </c:dLbl>
            <c:dLbl>
              <c:idx val="15"/>
              <c:tx>
                <c:rich>
                  <a:bodyPr/>
                  <a:lstStyle/>
                  <a:p>
                    <a:r>
                      <a:t>48.01</a:t>
                    </a:r>
                  </a:p>
                </c:rich>
              </c:tx>
              <c:dLblPos val="t"/>
              <c:showLegendKey val="0"/>
              <c:showVal val="1"/>
              <c:showCatName val="0"/>
              <c:showSerName val="0"/>
              <c:showPercent val="0"/>
              <c:showBubbleSize val="0"/>
            </c:dLbl>
            <c:dLbl>
              <c:idx val="16"/>
              <c:tx>
                <c:rich>
                  <a:bodyPr/>
                  <a:lstStyle/>
                  <a:p>
                    <a:r>
                      <a:t>14.1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C$2:$C$18</c:f>
              <c:numCache>
                <c:formatCode>General</c:formatCode>
                <c:ptCount val="17"/>
                <c:pt idx="0">
                  <c:v>11.8776</c:v>
                </c:pt>
                <c:pt idx="1">
                  <c:v>52.4667</c:v>
                </c:pt>
                <c:pt idx="2">
                  <c:v>97.5917</c:v>
                </c:pt>
                <c:pt idx="3">
                  <c:v>75.7258</c:v>
                </c:pt>
                <c:pt idx="4">
                  <c:v>39.9922</c:v>
                </c:pt>
                <c:pt idx="5">
                  <c:v>180.0427</c:v>
                </c:pt>
                <c:pt idx="6">
                  <c:v>44.3873</c:v>
                </c:pt>
                <c:pt idx="7">
                  <c:v>11.9441</c:v>
                </c:pt>
                <c:pt idx="8">
                  <c:v>15.4686</c:v>
                </c:pt>
                <c:pt idx="9">
                  <c:v>23.0799</c:v>
                </c:pt>
                <c:pt idx="10">
                  <c:v>17.1282</c:v>
                </c:pt>
                <c:pt idx="11">
                  <c:v>20.1911</c:v>
                </c:pt>
                <c:pt idx="12">
                  <c:v>13.0256</c:v>
                </c:pt>
                <c:pt idx="13">
                  <c:v>48.9381</c:v>
                </c:pt>
                <c:pt idx="14">
                  <c:v>61.3993</c:v>
                </c:pt>
                <c:pt idx="15">
                  <c:v>48.0103</c:v>
                </c:pt>
                <c:pt idx="16">
                  <c:v>14.121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6</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75</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88</a:t>
                    </a:r>
                  </a:p>
                </c:rich>
              </c:tx>
              <c:dLblPos val="ctr"/>
              <c:showLegendKey val="0"/>
              <c:showVal val="1"/>
              <c:showCatName val="0"/>
              <c:showSerName val="0"/>
              <c:showPercent val="0"/>
              <c:showBubbleSize val="0"/>
            </c:dLbl>
            <c:dLbl>
              <c:idx val="6"/>
              <c:tx>
                <c:rich>
                  <a:bodyPr/>
                  <a:lstStyle/>
                  <a:p>
                    <a:r>
                      <a:t>10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92</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95</a:t>
                    </a:r>
                  </a:p>
                </c:rich>
              </c:tx>
              <c:dLblPos val="ctr"/>
              <c:showLegendKey val="0"/>
              <c:showVal val="1"/>
              <c:showCatName val="0"/>
              <c:showSerName val="0"/>
              <c:showPercent val="0"/>
              <c:showBubbleSize val="0"/>
            </c:dLbl>
            <c:dLbl>
              <c:idx val="12"/>
              <c:tx>
                <c:rich>
                  <a:bodyPr/>
                  <a:lstStyle/>
                  <a:p>
                    <a:r>
                      <a:t>97</a:t>
                    </a:r>
                  </a:p>
                </c:rich>
              </c:tx>
              <c:dLblPos val="ctr"/>
              <c:showLegendKey val="0"/>
              <c:showVal val="1"/>
              <c:showCatName val="0"/>
              <c:showSerName val="0"/>
              <c:showPercent val="0"/>
              <c:showBubbleSize val="0"/>
            </c:dLbl>
            <c:dLbl>
              <c:idx val="13"/>
              <c:tx>
                <c:rich>
                  <a:bodyPr/>
                  <a:lstStyle/>
                  <a:p>
                    <a:r>
                      <a:t>94</a:t>
                    </a:r>
                  </a:p>
                </c:rich>
              </c:tx>
              <c:dLblPos val="ctr"/>
              <c:showLegendKey val="0"/>
              <c:showVal val="1"/>
              <c:showCatName val="0"/>
              <c:showSerName val="0"/>
              <c:showPercent val="0"/>
              <c:showBubbleSize val="0"/>
            </c:dLbl>
            <c:dLbl>
              <c:idx val="14"/>
              <c:tx>
                <c:rich>
                  <a:bodyPr/>
                  <a:lstStyle/>
                  <a:p>
                    <a:r>
                      <a:t>99</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4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2.0638297872340425</c:v>
                </c:pt>
                <c:pt idx="1">
                  <c:v>0.877247818958704</c:v>
                </c:pt>
                <c:pt idx="2">
                  <c:v>0.7470102560450455</c:v>
                </c:pt>
                <c:pt idx="3">
                  <c:v>0.8233032231014985</c:v>
                </c:pt>
                <c:pt idx="4">
                  <c:v>0.8496020203784622</c:v>
                </c:pt>
                <c:pt idx="5">
                  <c:v>0.8772394859700099</c:v>
                </c:pt>
                <c:pt idx="6">
                  <c:v>1.0193173863139677</c:v>
                </c:pt>
                <c:pt idx="7">
                  <c:v>0.8953208683593624</c:v>
                </c:pt>
                <c:pt idx="8">
                  <c:v>0.9943470784921308</c:v>
                </c:pt>
                <c:pt idx="9">
                  <c:v>1.9209825000281713</c:v>
                </c:pt>
                <c:pt idx="10">
                  <c:v>0.8677598042161093</c:v>
                </c:pt>
                <c:pt idx="11">
                  <c:v>0.9458701887110137</c:v>
                </c:pt>
                <c:pt idx="12">
                  <c:v>0.9722009177531946</c:v>
                </c:pt>
                <c:pt idx="13">
                  <c:v>0.9432094727361044</c:v>
                </c:pt>
                <c:pt idx="14">
                  <c:v>0.9905870403094519</c:v>
                </c:pt>
                <c:pt idx="15">
                  <c:v>0.798544190021513</c:v>
                </c:pt>
                <c:pt idx="16">
                  <c:v>0.42437030810701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0.000582</c:v>
                </c:pt>
                <c:pt idx="1">
                  <c:v>41.96401</c:v>
                </c:pt>
                <c:pt idx="2">
                  <c:v>8.118748</c:v>
                </c:pt>
                <c:pt idx="3">
                  <c:v>4.288654</c:v>
                </c:pt>
                <c:pt idx="4">
                  <c:v>2.889115</c:v>
                </c:pt>
                <c:pt idx="5">
                  <c:v>2.539682</c:v>
                </c:pt>
                <c:pt idx="6">
                  <c:v>2.294777</c:v>
                </c:pt>
                <c:pt idx="7">
                  <c:v>1.699952</c:v>
                </c:pt>
                <c:pt idx="8">
                  <c:v>1.095855</c:v>
                </c:pt>
                <c:pt idx="9">
                  <c:v>0.681895</c:v>
                </c:pt>
                <c:pt idx="10">
                  <c:v>0.53435</c:v>
                </c:pt>
                <c:pt idx="11">
                  <c:v>0.49436</c:v>
                </c:pt>
                <c:pt idx="12">
                  <c:v>0.448731</c:v>
                </c:pt>
                <c:pt idx="13">
                  <c:v>0.386415</c:v>
                </c:pt>
                <c:pt idx="14">
                  <c:v>0.28477</c:v>
                </c:pt>
                <c:pt idx="15">
                  <c:v>0.135485</c:v>
                </c:pt>
                <c:pt idx="16">
                  <c:v>0.0732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88</a:t>
                    </a:r>
                  </a:p>
                </c:rich>
              </c:tx>
              <c:dLblPos val="t"/>
              <c:showLegendKey val="0"/>
              <c:showVal val="1"/>
              <c:showCatName val="0"/>
              <c:showSerName val="0"/>
              <c:showPercent val="0"/>
              <c:showBubbleSize val="0"/>
            </c:dLbl>
            <c:dLbl>
              <c:idx val="1"/>
              <c:tx>
                <c:rich>
                  <a:bodyPr/>
                  <a:lstStyle/>
                  <a:p>
                    <a:r>
                      <a:t>52.47</a:t>
                    </a:r>
                  </a:p>
                </c:rich>
              </c:tx>
              <c:dLblPos val="t"/>
              <c:showLegendKey val="0"/>
              <c:showVal val="1"/>
              <c:showCatName val="0"/>
              <c:showSerName val="0"/>
              <c:showPercent val="0"/>
              <c:showBubbleSize val="0"/>
            </c:dLbl>
            <c:dLbl>
              <c:idx val="2"/>
              <c:tx>
                <c:rich>
                  <a:bodyPr/>
                  <a:lstStyle/>
                  <a:p>
                    <a:r>
                      <a:t>97.59</a:t>
                    </a:r>
                  </a:p>
                </c:rich>
              </c:tx>
              <c:dLblPos val="t"/>
              <c:showLegendKey val="0"/>
              <c:showVal val="1"/>
              <c:showCatName val="0"/>
              <c:showSerName val="0"/>
              <c:showPercent val="0"/>
              <c:showBubbleSize val="0"/>
            </c:dLbl>
            <c:dLbl>
              <c:idx val="3"/>
              <c:tx>
                <c:rich>
                  <a:bodyPr/>
                  <a:lstStyle/>
                  <a:p>
                    <a:r>
                      <a:t>75.73</a:t>
                    </a:r>
                  </a:p>
                </c:rich>
              </c:tx>
              <c:dLblPos val="t"/>
              <c:showLegendKey val="0"/>
              <c:showVal val="1"/>
              <c:showCatName val="0"/>
              <c:showSerName val="0"/>
              <c:showPercent val="0"/>
              <c:showBubbleSize val="0"/>
            </c:dLbl>
            <c:dLbl>
              <c:idx val="4"/>
              <c:tx>
                <c:rich>
                  <a:bodyPr/>
                  <a:lstStyle/>
                  <a:p>
                    <a:r>
                      <a:t>39.99</a:t>
                    </a:r>
                  </a:p>
                </c:rich>
              </c:tx>
              <c:dLblPos val="t"/>
              <c:showLegendKey val="0"/>
              <c:showVal val="1"/>
              <c:showCatName val="0"/>
              <c:showSerName val="0"/>
              <c:showPercent val="0"/>
              <c:showBubbleSize val="0"/>
            </c:dLbl>
            <c:dLbl>
              <c:idx val="5"/>
              <c:tx>
                <c:rich>
                  <a:bodyPr/>
                  <a:lstStyle/>
                  <a:p>
                    <a:r>
                      <a:t>180.04</a:t>
                    </a:r>
                  </a:p>
                </c:rich>
              </c:tx>
              <c:dLblPos val="t"/>
              <c:showLegendKey val="0"/>
              <c:showVal val="1"/>
              <c:showCatName val="0"/>
              <c:showSerName val="0"/>
              <c:showPercent val="0"/>
              <c:showBubbleSize val="0"/>
            </c:dLbl>
            <c:dLbl>
              <c:idx val="6"/>
              <c:tx>
                <c:rich>
                  <a:bodyPr/>
                  <a:lstStyle/>
                  <a:p>
                    <a:r>
                      <a:t>44.39</a:t>
                    </a:r>
                  </a:p>
                </c:rich>
              </c:tx>
              <c:dLblPos val="t"/>
              <c:showLegendKey val="0"/>
              <c:showVal val="1"/>
              <c:showCatName val="0"/>
              <c:showSerName val="0"/>
              <c:showPercent val="0"/>
              <c:showBubbleSize val="0"/>
            </c:dLbl>
            <c:dLbl>
              <c:idx val="7"/>
              <c:tx>
                <c:rich>
                  <a:bodyPr/>
                  <a:lstStyle/>
                  <a:p>
                    <a:r>
                      <a:t>11.94</a:t>
                    </a:r>
                  </a:p>
                </c:rich>
              </c:tx>
              <c:dLblPos val="t"/>
              <c:showLegendKey val="0"/>
              <c:showVal val="1"/>
              <c:showCatName val="0"/>
              <c:showSerName val="0"/>
              <c:showPercent val="0"/>
              <c:showBubbleSize val="0"/>
            </c:dLbl>
            <c:dLbl>
              <c:idx val="8"/>
              <c:tx>
                <c:rich>
                  <a:bodyPr/>
                  <a:lstStyle/>
                  <a:p>
                    <a:r>
                      <a:t>15.47</a:t>
                    </a:r>
                  </a:p>
                </c:rich>
              </c:tx>
              <c:dLblPos val="t"/>
              <c:showLegendKey val="0"/>
              <c:showVal val="1"/>
              <c:showCatName val="0"/>
              <c:showSerName val="0"/>
              <c:showPercent val="0"/>
              <c:showBubbleSize val="0"/>
            </c:dLbl>
            <c:dLbl>
              <c:idx val="9"/>
              <c:tx>
                <c:rich>
                  <a:bodyPr/>
                  <a:lstStyle/>
                  <a:p>
                    <a:r>
                      <a:t>23.08</a:t>
                    </a:r>
                  </a:p>
                </c:rich>
              </c:tx>
              <c:dLblPos val="t"/>
              <c:showLegendKey val="0"/>
              <c:showVal val="1"/>
              <c:showCatName val="0"/>
              <c:showSerName val="0"/>
              <c:showPercent val="0"/>
              <c:showBubbleSize val="0"/>
            </c:dLbl>
            <c:dLbl>
              <c:idx val="10"/>
              <c:tx>
                <c:rich>
                  <a:bodyPr/>
                  <a:lstStyle/>
                  <a:p>
                    <a:r>
                      <a:t>17.13</a:t>
                    </a:r>
                  </a:p>
                </c:rich>
              </c:tx>
              <c:dLblPos val="t"/>
              <c:showLegendKey val="0"/>
              <c:showVal val="1"/>
              <c:showCatName val="0"/>
              <c:showSerName val="0"/>
              <c:showPercent val="0"/>
              <c:showBubbleSize val="0"/>
            </c:dLbl>
            <c:dLbl>
              <c:idx val="11"/>
              <c:tx>
                <c:rich>
                  <a:bodyPr/>
                  <a:lstStyle/>
                  <a:p>
                    <a:r>
                      <a:t>20.19</a:t>
                    </a:r>
                  </a:p>
                </c:rich>
              </c:tx>
              <c:dLblPos val="t"/>
              <c:showLegendKey val="0"/>
              <c:showVal val="1"/>
              <c:showCatName val="0"/>
              <c:showSerName val="0"/>
              <c:showPercent val="0"/>
              <c:showBubbleSize val="0"/>
            </c:dLbl>
            <c:dLbl>
              <c:idx val="12"/>
              <c:tx>
                <c:rich>
                  <a:bodyPr/>
                  <a:lstStyle/>
                  <a:p>
                    <a:r>
                      <a:t>13.03</a:t>
                    </a:r>
                  </a:p>
                </c:rich>
              </c:tx>
              <c:dLblPos val="t"/>
              <c:showLegendKey val="0"/>
              <c:showVal val="1"/>
              <c:showCatName val="0"/>
              <c:showSerName val="0"/>
              <c:showPercent val="0"/>
              <c:showBubbleSize val="0"/>
            </c:dLbl>
            <c:dLbl>
              <c:idx val="13"/>
              <c:tx>
                <c:rich>
                  <a:bodyPr/>
                  <a:lstStyle/>
                  <a:p>
                    <a:r>
                      <a:t>48.94</a:t>
                    </a:r>
                  </a:p>
                </c:rich>
              </c:tx>
              <c:dLblPos val="t"/>
              <c:showLegendKey val="0"/>
              <c:showVal val="1"/>
              <c:showCatName val="0"/>
              <c:showSerName val="0"/>
              <c:showPercent val="0"/>
              <c:showBubbleSize val="0"/>
            </c:dLbl>
            <c:dLbl>
              <c:idx val="14"/>
              <c:tx>
                <c:rich>
                  <a:bodyPr/>
                  <a:lstStyle/>
                  <a:p>
                    <a:r>
                      <a:t>61.40</a:t>
                    </a:r>
                  </a:p>
                </c:rich>
              </c:tx>
              <c:dLblPos val="t"/>
              <c:showLegendKey val="0"/>
              <c:showVal val="1"/>
              <c:showCatName val="0"/>
              <c:showSerName val="0"/>
              <c:showPercent val="0"/>
              <c:showBubbleSize val="0"/>
            </c:dLbl>
            <c:dLbl>
              <c:idx val="15"/>
              <c:tx>
                <c:rich>
                  <a:bodyPr/>
                  <a:lstStyle/>
                  <a:p>
                    <a:r>
                      <a:t>48.01</a:t>
                    </a:r>
                  </a:p>
                </c:rich>
              </c:tx>
              <c:dLblPos val="t"/>
              <c:showLegendKey val="0"/>
              <c:showVal val="1"/>
              <c:showCatName val="0"/>
              <c:showSerName val="0"/>
              <c:showPercent val="0"/>
              <c:showBubbleSize val="0"/>
            </c:dLbl>
            <c:dLbl>
              <c:idx val="16"/>
              <c:tx>
                <c:rich>
                  <a:bodyPr/>
                  <a:lstStyle/>
                  <a:p>
                    <a:r>
                      <a:t>14.1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C$2:$C$18</c:f>
              <c:numCache>
                <c:formatCode>General</c:formatCode>
                <c:ptCount val="17"/>
                <c:pt idx="0">
                  <c:v>11.8776</c:v>
                </c:pt>
                <c:pt idx="1">
                  <c:v>52.4667</c:v>
                </c:pt>
                <c:pt idx="2">
                  <c:v>97.5917</c:v>
                </c:pt>
                <c:pt idx="3">
                  <c:v>75.7258</c:v>
                </c:pt>
                <c:pt idx="4">
                  <c:v>39.9922</c:v>
                </c:pt>
                <c:pt idx="5">
                  <c:v>180.0427</c:v>
                </c:pt>
                <c:pt idx="6">
                  <c:v>44.3873</c:v>
                </c:pt>
                <c:pt idx="7">
                  <c:v>11.9441</c:v>
                </c:pt>
                <c:pt idx="8">
                  <c:v>15.4686</c:v>
                </c:pt>
                <c:pt idx="9">
                  <c:v>23.0799</c:v>
                </c:pt>
                <c:pt idx="10">
                  <c:v>17.1282</c:v>
                </c:pt>
                <c:pt idx="11">
                  <c:v>20.1911</c:v>
                </c:pt>
                <c:pt idx="12">
                  <c:v>13.0256</c:v>
                </c:pt>
                <c:pt idx="13">
                  <c:v>48.9381</c:v>
                </c:pt>
                <c:pt idx="14">
                  <c:v>61.3993</c:v>
                </c:pt>
                <c:pt idx="15">
                  <c:v>48.0103</c:v>
                </c:pt>
                <c:pt idx="16">
                  <c:v>14.121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206</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75</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88</a:t>
                    </a:r>
                  </a:p>
                </c:rich>
              </c:tx>
              <c:dLblPos val="ctr"/>
              <c:showLegendKey val="0"/>
              <c:showVal val="1"/>
              <c:showCatName val="0"/>
              <c:showSerName val="0"/>
              <c:showPercent val="0"/>
              <c:showBubbleSize val="0"/>
            </c:dLbl>
            <c:dLbl>
              <c:idx val="6"/>
              <c:tx>
                <c:rich>
                  <a:bodyPr/>
                  <a:lstStyle/>
                  <a:p>
                    <a:r>
                      <a:t>10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92</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95</a:t>
                    </a:r>
                  </a:p>
                </c:rich>
              </c:tx>
              <c:dLblPos val="ctr"/>
              <c:showLegendKey val="0"/>
              <c:showVal val="1"/>
              <c:showCatName val="0"/>
              <c:showSerName val="0"/>
              <c:showPercent val="0"/>
              <c:showBubbleSize val="0"/>
            </c:dLbl>
            <c:dLbl>
              <c:idx val="12"/>
              <c:tx>
                <c:rich>
                  <a:bodyPr/>
                  <a:lstStyle/>
                  <a:p>
                    <a:r>
                      <a:t>97</a:t>
                    </a:r>
                  </a:p>
                </c:rich>
              </c:tx>
              <c:dLblPos val="ctr"/>
              <c:showLegendKey val="0"/>
              <c:showVal val="1"/>
              <c:showCatName val="0"/>
              <c:showSerName val="0"/>
              <c:showPercent val="0"/>
              <c:showBubbleSize val="0"/>
            </c:dLbl>
            <c:dLbl>
              <c:idx val="13"/>
              <c:tx>
                <c:rich>
                  <a:bodyPr/>
                  <a:lstStyle/>
                  <a:p>
                    <a:r>
                      <a:t>94</a:t>
                    </a:r>
                  </a:p>
                </c:rich>
              </c:tx>
              <c:dLblPos val="ctr"/>
              <c:showLegendKey val="0"/>
              <c:showVal val="1"/>
              <c:showCatName val="0"/>
              <c:showSerName val="0"/>
              <c:showPercent val="0"/>
              <c:showBubbleSize val="0"/>
            </c:dLbl>
            <c:dLbl>
              <c:idx val="14"/>
              <c:tx>
                <c:rich>
                  <a:bodyPr/>
                  <a:lstStyle/>
                  <a:p>
                    <a:r>
                      <a:t>99</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4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2.0638297872340425</c:v>
                </c:pt>
                <c:pt idx="1">
                  <c:v>0.877247818958704</c:v>
                </c:pt>
                <c:pt idx="2">
                  <c:v>0.7470102560450455</c:v>
                </c:pt>
                <c:pt idx="3">
                  <c:v>0.8233032231014985</c:v>
                </c:pt>
                <c:pt idx="4">
                  <c:v>0.8496020203784622</c:v>
                </c:pt>
                <c:pt idx="5">
                  <c:v>0.8772394859700099</c:v>
                </c:pt>
                <c:pt idx="6">
                  <c:v>1.0193173863139677</c:v>
                </c:pt>
                <c:pt idx="7">
                  <c:v>0.8953208683593624</c:v>
                </c:pt>
                <c:pt idx="8">
                  <c:v>0.9943470784921308</c:v>
                </c:pt>
                <c:pt idx="9">
                  <c:v>1.9209825000281713</c:v>
                </c:pt>
                <c:pt idx="10">
                  <c:v>0.8677598042161093</c:v>
                </c:pt>
                <c:pt idx="11">
                  <c:v>0.9458701887110137</c:v>
                </c:pt>
                <c:pt idx="12">
                  <c:v>0.9722009177531946</c:v>
                </c:pt>
                <c:pt idx="13">
                  <c:v>0.9432094727361044</c:v>
                </c:pt>
                <c:pt idx="14">
                  <c:v>0.9905870403094519</c:v>
                </c:pt>
                <c:pt idx="15">
                  <c:v>0.798544190021513</c:v>
                </c:pt>
                <c:pt idx="16">
                  <c:v>0.42437030810701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B$2:$B$18</c:f>
              <c:numCache>
                <c:formatCode>General</c:formatCode>
                <c:ptCount val="17"/>
                <c:pt idx="0">
                  <c:v>4e-05</c:v>
                </c:pt>
                <c:pt idx="1">
                  <c:v>4.983584</c:v>
                </c:pt>
                <c:pt idx="2">
                  <c:v>0.988827</c:v>
                </c:pt>
                <c:pt idx="3">
                  <c:v>0.479529</c:v>
                </c:pt>
                <c:pt idx="4">
                  <c:v>0.400798</c:v>
                </c:pt>
                <c:pt idx="5">
                  <c:v>0.351913</c:v>
                </c:pt>
                <c:pt idx="6">
                  <c:v>0.287863</c:v>
                </c:pt>
                <c:pt idx="7">
                  <c:v>0.194659</c:v>
                </c:pt>
                <c:pt idx="8">
                  <c:v>0.092538</c:v>
                </c:pt>
                <c:pt idx="9">
                  <c:v>0.079888</c:v>
                </c:pt>
                <c:pt idx="10">
                  <c:v>0.066644</c:v>
                </c:pt>
                <c:pt idx="11">
                  <c:v>0.056722</c:v>
                </c:pt>
                <c:pt idx="12">
                  <c:v>0.048547</c:v>
                </c:pt>
                <c:pt idx="13">
                  <c:v>0.047184</c:v>
                </c:pt>
                <c:pt idx="14">
                  <c:v>0.038465</c:v>
                </c:pt>
                <c:pt idx="15">
                  <c:v>0.014074</c:v>
                </c:pt>
                <c:pt idx="16">
                  <c:v>0.00812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3</a:t>
                    </a:r>
                  </a:p>
                </c:rich>
              </c:tx>
              <c:dLblPos val="t"/>
              <c:showLegendKey val="0"/>
              <c:showVal val="1"/>
              <c:showCatName val="0"/>
              <c:showSerName val="0"/>
              <c:showPercent val="0"/>
              <c:showBubbleSize val="0"/>
            </c:dLbl>
            <c:dLbl>
              <c:idx val="1"/>
              <c:tx>
                <c:rich>
                  <a:bodyPr/>
                  <a:lstStyle/>
                  <a:p>
                    <a:r>
                      <a:t>54.11</a:t>
                    </a:r>
                  </a:p>
                </c:rich>
              </c:tx>
              <c:dLblPos val="t"/>
              <c:showLegendKey val="0"/>
              <c:showVal val="1"/>
              <c:showCatName val="0"/>
              <c:showSerName val="0"/>
              <c:showPercent val="0"/>
              <c:showBubbleSize val="0"/>
            </c:dLbl>
            <c:dLbl>
              <c:idx val="2"/>
              <c:tx>
                <c:rich>
                  <a:bodyPr/>
                  <a:lstStyle/>
                  <a:p>
                    <a:r>
                      <a:t>105.47</a:t>
                    </a:r>
                  </a:p>
                </c:rich>
              </c:tx>
              <c:dLblPos val="t"/>
              <c:showLegendKey val="0"/>
              <c:showVal val="1"/>
              <c:showCatName val="0"/>
              <c:showSerName val="0"/>
              <c:showPercent val="0"/>
              <c:showBubbleSize val="0"/>
            </c:dLbl>
            <c:dLbl>
              <c:idx val="3"/>
              <c:tx>
                <c:rich>
                  <a:bodyPr/>
                  <a:lstStyle/>
                  <a:p>
                    <a:r>
                      <a:t>77.86</a:t>
                    </a:r>
                  </a:p>
                </c:rich>
              </c:tx>
              <c:dLblPos val="t"/>
              <c:showLegendKey val="0"/>
              <c:showVal val="1"/>
              <c:showCatName val="0"/>
              <c:showSerName val="0"/>
              <c:showPercent val="0"/>
              <c:showBubbleSize val="0"/>
            </c:dLbl>
            <c:dLbl>
              <c:idx val="4"/>
              <c:tx>
                <c:rich>
                  <a:bodyPr/>
                  <a:lstStyle/>
                  <a:p>
                    <a:r>
                      <a:t>199.90</a:t>
                    </a:r>
                  </a:p>
                </c:rich>
              </c:tx>
              <c:dLblPos val="t"/>
              <c:showLegendKey val="0"/>
              <c:showVal val="1"/>
              <c:showCatName val="0"/>
              <c:showSerName val="0"/>
              <c:showPercent val="0"/>
              <c:showBubbleSize val="0"/>
            </c:dLbl>
            <c:dLbl>
              <c:idx val="5"/>
              <c:tx>
                <c:rich>
                  <a:bodyPr/>
                  <a:lstStyle/>
                  <a:p>
                    <a:r>
                      <a:t>40.27</a:t>
                    </a:r>
                  </a:p>
                </c:rich>
              </c:tx>
              <c:dLblPos val="t"/>
              <c:showLegendKey val="0"/>
              <c:showVal val="1"/>
              <c:showCatName val="0"/>
              <c:showSerName val="0"/>
              <c:showPercent val="0"/>
              <c:showBubbleSize val="0"/>
            </c:dLbl>
            <c:dLbl>
              <c:idx val="6"/>
              <c:tx>
                <c:rich>
                  <a:bodyPr/>
                  <a:lstStyle/>
                  <a:p>
                    <a:r>
                      <a:t>44.92</a:t>
                    </a:r>
                  </a:p>
                </c:rich>
              </c:tx>
              <c:dLblPos val="t"/>
              <c:showLegendKey val="0"/>
              <c:showVal val="1"/>
              <c:showCatName val="0"/>
              <c:showSerName val="0"/>
              <c:showPercent val="0"/>
              <c:showBubbleSize val="0"/>
            </c:dLbl>
            <c:dLbl>
              <c:idx val="7"/>
              <c:tx>
                <c:rich>
                  <a:bodyPr/>
                  <a:lstStyle/>
                  <a:p>
                    <a:r>
                      <a:t>12.13</a:t>
                    </a:r>
                  </a:p>
                </c:rich>
              </c:tx>
              <c:dLblPos val="t"/>
              <c:showLegendKey val="0"/>
              <c:showVal val="1"/>
              <c:showCatName val="0"/>
              <c:showSerName val="0"/>
              <c:showPercent val="0"/>
              <c:showBubbleSize val="0"/>
            </c:dLbl>
            <c:dLbl>
              <c:idx val="8"/>
              <c:tx>
                <c:rich>
                  <a:bodyPr/>
                  <a:lstStyle/>
                  <a:p>
                    <a:r>
                      <a:t>15.99</a:t>
                    </a:r>
                  </a:p>
                </c:rich>
              </c:tx>
              <c:dLblPos val="t"/>
              <c:showLegendKey val="0"/>
              <c:showVal val="1"/>
              <c:showCatName val="0"/>
              <c:showSerName val="0"/>
              <c:showPercent val="0"/>
              <c:showBubbleSize val="0"/>
            </c:dLbl>
            <c:dLbl>
              <c:idx val="9"/>
              <c:tx>
                <c:rich>
                  <a:bodyPr/>
                  <a:lstStyle/>
                  <a:p>
                    <a:r>
                      <a:t>19.17</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17.40</a:t>
                    </a:r>
                  </a:p>
                </c:rich>
              </c:tx>
              <c:dLblPos val="t"/>
              <c:showLegendKey val="0"/>
              <c:showVal val="1"/>
              <c:showCatName val="0"/>
              <c:showSerName val="0"/>
              <c:showPercent val="0"/>
              <c:showBubbleSize val="0"/>
            </c:dLbl>
            <c:dLbl>
              <c:idx val="12"/>
              <c:tx>
                <c:rich>
                  <a:bodyPr/>
                  <a:lstStyle/>
                  <a:p>
                    <a:r>
                      <a:t>62.32</a:t>
                    </a:r>
                  </a:p>
                </c:rich>
              </c:tx>
              <c:dLblPos val="t"/>
              <c:showLegendKey val="0"/>
              <c:showVal val="1"/>
              <c:showCatName val="0"/>
              <c:showSerName val="0"/>
              <c:showPercent val="0"/>
              <c:showBubbleSize val="0"/>
            </c:dLbl>
            <c:dLbl>
              <c:idx val="13"/>
              <c:tx>
                <c:rich>
                  <a:bodyPr/>
                  <a:lstStyle/>
                  <a:p>
                    <a:r>
                      <a:t>53.92</a:t>
                    </a:r>
                  </a:p>
                </c:rich>
              </c:tx>
              <c:dLblPos val="t"/>
              <c:showLegendKey val="0"/>
              <c:showVal val="1"/>
              <c:showCatName val="0"/>
              <c:showSerName val="0"/>
              <c:showPercent val="0"/>
              <c:showBubbleSize val="0"/>
            </c:dLbl>
            <c:dLbl>
              <c:idx val="14"/>
              <c:tx>
                <c:rich>
                  <a:bodyPr/>
                  <a:lstStyle/>
                  <a:p>
                    <a:r>
                      <a:t>14.42</a:t>
                    </a:r>
                  </a:p>
                </c:rich>
              </c:tx>
              <c:dLblPos val="t"/>
              <c:showLegendKey val="0"/>
              <c:showVal val="1"/>
              <c:showCatName val="0"/>
              <c:showSerName val="0"/>
              <c:showPercent val="0"/>
              <c:showBubbleSize val="0"/>
            </c:dLbl>
            <c:dLbl>
              <c:idx val="15"/>
              <c:tx>
                <c:rich>
                  <a:bodyPr/>
                  <a:lstStyle/>
                  <a:p>
                    <a:r>
                      <a:t>50.63</a:t>
                    </a:r>
                  </a:p>
                </c:rich>
              </c:tx>
              <c:dLblPos val="t"/>
              <c:showLegendKey val="0"/>
              <c:showVal val="1"/>
              <c:showCatName val="0"/>
              <c:showSerName val="0"/>
              <c:showPercent val="0"/>
              <c:showBubbleSize val="0"/>
            </c:dLbl>
            <c:dLbl>
              <c:idx val="16"/>
              <c:tx>
                <c:rich>
                  <a:bodyPr/>
                  <a:lstStyle/>
                  <a:p>
                    <a:r>
                      <a:t>14.0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C$2:$C$18</c:f>
              <c:numCache>
                <c:formatCode>General</c:formatCode>
                <c:ptCount val="17"/>
                <c:pt idx="0">
                  <c:v>13.3333</c:v>
                </c:pt>
                <c:pt idx="1">
                  <c:v>54.1076</c:v>
                </c:pt>
                <c:pt idx="2">
                  <c:v>105.4749</c:v>
                </c:pt>
                <c:pt idx="3">
                  <c:v>77.8583</c:v>
                </c:pt>
                <c:pt idx="4">
                  <c:v>199.8993</c:v>
                </c:pt>
                <c:pt idx="5">
                  <c:v>40.2739</c:v>
                </c:pt>
                <c:pt idx="6">
                  <c:v>44.9224</c:v>
                </c:pt>
                <c:pt idx="7">
                  <c:v>12.1268</c:v>
                </c:pt>
                <c:pt idx="8">
                  <c:v>15.9879</c:v>
                </c:pt>
                <c:pt idx="9">
                  <c:v>19.167</c:v>
                </c:pt>
                <c:pt idx="10">
                  <c:v>24.0072</c:v>
                </c:pt>
                <c:pt idx="11">
                  <c:v>17.4047</c:v>
                </c:pt>
                <c:pt idx="12">
                  <c:v>62.3196</c:v>
                </c:pt>
                <c:pt idx="13">
                  <c:v>53.9246</c:v>
                </c:pt>
                <c:pt idx="14">
                  <c:v>14.4226</c:v>
                </c:pt>
                <c:pt idx="15">
                  <c:v>50.6259</c:v>
                </c:pt>
                <c:pt idx="16">
                  <c:v>14.07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1</a:t>
                    </a:r>
                  </a:p>
                </c:rich>
              </c:tx>
              <c:dLblPos val="ctr"/>
              <c:showLegendKey val="0"/>
              <c:showVal val="1"/>
              <c:showCatName val="0"/>
              <c:showSerName val="0"/>
              <c:showPercent val="0"/>
              <c:showBubbleSize val="0"/>
            </c:dLbl>
            <c:dLbl>
              <c:idx val="6"/>
              <c:tx>
                <c:rich>
                  <a:bodyPr/>
                  <a:lstStyle/>
                  <a:p>
                    <a:r>
                      <a:t>105</a:t>
                    </a:r>
                  </a:p>
                </c:rich>
              </c:tx>
              <c:dLblPos val="ctr"/>
              <c:showLegendKey val="0"/>
              <c:showVal val="1"/>
              <c:showCatName val="0"/>
              <c:showSerName val="0"/>
              <c:showPercent val="0"/>
              <c:showBubbleSize val="0"/>
            </c:dLbl>
            <c:dLbl>
              <c:idx val="7"/>
              <c:tx>
                <c:rich>
                  <a:bodyPr/>
                  <a:lstStyle/>
                  <a:p>
                    <a:r>
                      <a:t>92</a:t>
                    </a:r>
                  </a:p>
                </c:rich>
              </c:tx>
              <c:dLblPos val="ctr"/>
              <c:showLegendKey val="0"/>
              <c:showVal val="1"/>
              <c:showCatName val="0"/>
              <c:showSerName val="0"/>
              <c:showPercent val="0"/>
              <c:showBubbleSize val="0"/>
            </c:dLbl>
            <c:dLbl>
              <c:idx val="8"/>
              <c:tx>
                <c:rich>
                  <a:bodyPr/>
                  <a:lstStyle/>
                  <a:p>
                    <a:r>
                      <a:t>106</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20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93</a:t>
                    </a:r>
                  </a:p>
                </c:rich>
              </c:tx>
              <c:dLblPos val="ctr"/>
              <c:showLegendKey val="0"/>
              <c:showVal val="1"/>
              <c:showCatName val="0"/>
              <c:showSerName val="0"/>
              <c:showPercent val="0"/>
              <c:showBubbleSize val="0"/>
            </c:dLbl>
            <c:dLbl>
              <c:idx val="13"/>
              <c:tx>
                <c:rich>
                  <a:bodyPr/>
                  <a:lstStyle/>
                  <a:p>
                    <a:r>
                      <a:t>88</a:t>
                    </a:r>
                  </a:p>
                </c:rich>
              </c:tx>
              <c:dLblPos val="ctr"/>
              <c:showLegendKey val="0"/>
              <c:showVal val="1"/>
              <c:showCatName val="0"/>
              <c:showSerName val="0"/>
              <c:showPercent val="0"/>
              <c:showBubbleSize val="0"/>
            </c:dLbl>
            <c:dLbl>
              <c:idx val="14"/>
              <c:tx>
                <c:rich>
                  <a:bodyPr/>
                  <a:lstStyle/>
                  <a:p>
                    <a:r>
                      <a:t>114</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5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B$2:$B$18</c:f>
              <c:numCache>
                <c:formatCode>General</c:formatCode>
                <c:ptCount val="17"/>
                <c:pt idx="0">
                  <c:v>0.0</c:v>
                </c:pt>
                <c:pt idx="1">
                  <c:v>0.8791002229685868</c:v>
                </c:pt>
                <c:pt idx="2">
                  <c:v>0.8249760348002233</c:v>
                </c:pt>
                <c:pt idx="3">
                  <c:v>0.821871250814109</c:v>
                </c:pt>
                <c:pt idx="4">
                  <c:v>0.8952258848440717</c:v>
                </c:pt>
                <c:pt idx="5">
                  <c:v>0.9069268197140412</c:v>
                </c:pt>
                <c:pt idx="6">
                  <c:v>1.045037882500717</c:v>
                </c:pt>
                <c:pt idx="7">
                  <c:v>0.9208611652506292</c:v>
                </c:pt>
                <c:pt idx="8">
                  <c:v>1.0630442274554854</c:v>
                </c:pt>
                <c:pt idx="9">
                  <c:v>1.0396397803284663</c:v>
                </c:pt>
                <c:pt idx="10">
                  <c:v>2.0386662587947386</c:v>
                </c:pt>
                <c:pt idx="11">
                  <c:v>0.8917431769588731</c:v>
                </c:pt>
                <c:pt idx="12">
                  <c:v>0.9254098360655738</c:v>
                </c:pt>
                <c:pt idx="13">
                  <c:v>0.8752689767752467</c:v>
                </c:pt>
                <c:pt idx="14">
                  <c:v>1.1359676323794337</c:v>
                </c:pt>
                <c:pt idx="15">
                  <c:v>0.8367917236458767</c:v>
                </c:pt>
                <c:pt idx="16">
                  <c:v>0.56247402687352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B$2:$B$18</c:f>
              <c:numCache>
                <c:formatCode>General</c:formatCode>
                <c:ptCount val="17"/>
                <c:pt idx="0">
                  <c:v>4e-05</c:v>
                </c:pt>
                <c:pt idx="1">
                  <c:v>4.983584</c:v>
                </c:pt>
                <c:pt idx="2">
                  <c:v>0.988827</c:v>
                </c:pt>
                <c:pt idx="3">
                  <c:v>0.479529</c:v>
                </c:pt>
                <c:pt idx="4">
                  <c:v>0.400798</c:v>
                </c:pt>
                <c:pt idx="5">
                  <c:v>0.351913</c:v>
                </c:pt>
                <c:pt idx="6">
                  <c:v>0.287863</c:v>
                </c:pt>
                <c:pt idx="7">
                  <c:v>0.194659</c:v>
                </c:pt>
                <c:pt idx="8">
                  <c:v>0.092538</c:v>
                </c:pt>
                <c:pt idx="9">
                  <c:v>0.079888</c:v>
                </c:pt>
                <c:pt idx="10">
                  <c:v>0.066644</c:v>
                </c:pt>
                <c:pt idx="11">
                  <c:v>0.056722</c:v>
                </c:pt>
                <c:pt idx="12">
                  <c:v>0.048547</c:v>
                </c:pt>
                <c:pt idx="13">
                  <c:v>0.047184</c:v>
                </c:pt>
                <c:pt idx="14">
                  <c:v>0.038465</c:v>
                </c:pt>
                <c:pt idx="15">
                  <c:v>0.014074</c:v>
                </c:pt>
                <c:pt idx="16">
                  <c:v>0.00812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3</a:t>
                    </a:r>
                  </a:p>
                </c:rich>
              </c:tx>
              <c:dLblPos val="t"/>
              <c:showLegendKey val="0"/>
              <c:showVal val="1"/>
              <c:showCatName val="0"/>
              <c:showSerName val="0"/>
              <c:showPercent val="0"/>
              <c:showBubbleSize val="0"/>
            </c:dLbl>
            <c:dLbl>
              <c:idx val="1"/>
              <c:tx>
                <c:rich>
                  <a:bodyPr/>
                  <a:lstStyle/>
                  <a:p>
                    <a:r>
                      <a:t>54.11</a:t>
                    </a:r>
                  </a:p>
                </c:rich>
              </c:tx>
              <c:dLblPos val="t"/>
              <c:showLegendKey val="0"/>
              <c:showVal val="1"/>
              <c:showCatName val="0"/>
              <c:showSerName val="0"/>
              <c:showPercent val="0"/>
              <c:showBubbleSize val="0"/>
            </c:dLbl>
            <c:dLbl>
              <c:idx val="2"/>
              <c:tx>
                <c:rich>
                  <a:bodyPr/>
                  <a:lstStyle/>
                  <a:p>
                    <a:r>
                      <a:t>105.47</a:t>
                    </a:r>
                  </a:p>
                </c:rich>
              </c:tx>
              <c:dLblPos val="t"/>
              <c:showLegendKey val="0"/>
              <c:showVal val="1"/>
              <c:showCatName val="0"/>
              <c:showSerName val="0"/>
              <c:showPercent val="0"/>
              <c:showBubbleSize val="0"/>
            </c:dLbl>
            <c:dLbl>
              <c:idx val="3"/>
              <c:tx>
                <c:rich>
                  <a:bodyPr/>
                  <a:lstStyle/>
                  <a:p>
                    <a:r>
                      <a:t>77.86</a:t>
                    </a:r>
                  </a:p>
                </c:rich>
              </c:tx>
              <c:dLblPos val="t"/>
              <c:showLegendKey val="0"/>
              <c:showVal val="1"/>
              <c:showCatName val="0"/>
              <c:showSerName val="0"/>
              <c:showPercent val="0"/>
              <c:showBubbleSize val="0"/>
            </c:dLbl>
            <c:dLbl>
              <c:idx val="4"/>
              <c:tx>
                <c:rich>
                  <a:bodyPr/>
                  <a:lstStyle/>
                  <a:p>
                    <a:r>
                      <a:t>199.90</a:t>
                    </a:r>
                  </a:p>
                </c:rich>
              </c:tx>
              <c:dLblPos val="t"/>
              <c:showLegendKey val="0"/>
              <c:showVal val="1"/>
              <c:showCatName val="0"/>
              <c:showSerName val="0"/>
              <c:showPercent val="0"/>
              <c:showBubbleSize val="0"/>
            </c:dLbl>
            <c:dLbl>
              <c:idx val="5"/>
              <c:tx>
                <c:rich>
                  <a:bodyPr/>
                  <a:lstStyle/>
                  <a:p>
                    <a:r>
                      <a:t>40.27</a:t>
                    </a:r>
                  </a:p>
                </c:rich>
              </c:tx>
              <c:dLblPos val="t"/>
              <c:showLegendKey val="0"/>
              <c:showVal val="1"/>
              <c:showCatName val="0"/>
              <c:showSerName val="0"/>
              <c:showPercent val="0"/>
              <c:showBubbleSize val="0"/>
            </c:dLbl>
            <c:dLbl>
              <c:idx val="6"/>
              <c:tx>
                <c:rich>
                  <a:bodyPr/>
                  <a:lstStyle/>
                  <a:p>
                    <a:r>
                      <a:t>44.92</a:t>
                    </a:r>
                  </a:p>
                </c:rich>
              </c:tx>
              <c:dLblPos val="t"/>
              <c:showLegendKey val="0"/>
              <c:showVal val="1"/>
              <c:showCatName val="0"/>
              <c:showSerName val="0"/>
              <c:showPercent val="0"/>
              <c:showBubbleSize val="0"/>
            </c:dLbl>
            <c:dLbl>
              <c:idx val="7"/>
              <c:tx>
                <c:rich>
                  <a:bodyPr/>
                  <a:lstStyle/>
                  <a:p>
                    <a:r>
                      <a:t>12.13</a:t>
                    </a:r>
                  </a:p>
                </c:rich>
              </c:tx>
              <c:dLblPos val="t"/>
              <c:showLegendKey val="0"/>
              <c:showVal val="1"/>
              <c:showCatName val="0"/>
              <c:showSerName val="0"/>
              <c:showPercent val="0"/>
              <c:showBubbleSize val="0"/>
            </c:dLbl>
            <c:dLbl>
              <c:idx val="8"/>
              <c:tx>
                <c:rich>
                  <a:bodyPr/>
                  <a:lstStyle/>
                  <a:p>
                    <a:r>
                      <a:t>15.99</a:t>
                    </a:r>
                  </a:p>
                </c:rich>
              </c:tx>
              <c:dLblPos val="t"/>
              <c:showLegendKey val="0"/>
              <c:showVal val="1"/>
              <c:showCatName val="0"/>
              <c:showSerName val="0"/>
              <c:showPercent val="0"/>
              <c:showBubbleSize val="0"/>
            </c:dLbl>
            <c:dLbl>
              <c:idx val="9"/>
              <c:tx>
                <c:rich>
                  <a:bodyPr/>
                  <a:lstStyle/>
                  <a:p>
                    <a:r>
                      <a:t>19.17</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17.40</a:t>
                    </a:r>
                  </a:p>
                </c:rich>
              </c:tx>
              <c:dLblPos val="t"/>
              <c:showLegendKey val="0"/>
              <c:showVal val="1"/>
              <c:showCatName val="0"/>
              <c:showSerName val="0"/>
              <c:showPercent val="0"/>
              <c:showBubbleSize val="0"/>
            </c:dLbl>
            <c:dLbl>
              <c:idx val="12"/>
              <c:tx>
                <c:rich>
                  <a:bodyPr/>
                  <a:lstStyle/>
                  <a:p>
                    <a:r>
                      <a:t>62.32</a:t>
                    </a:r>
                  </a:p>
                </c:rich>
              </c:tx>
              <c:dLblPos val="t"/>
              <c:showLegendKey val="0"/>
              <c:showVal val="1"/>
              <c:showCatName val="0"/>
              <c:showSerName val="0"/>
              <c:showPercent val="0"/>
              <c:showBubbleSize val="0"/>
            </c:dLbl>
            <c:dLbl>
              <c:idx val="13"/>
              <c:tx>
                <c:rich>
                  <a:bodyPr/>
                  <a:lstStyle/>
                  <a:p>
                    <a:r>
                      <a:t>53.92</a:t>
                    </a:r>
                  </a:p>
                </c:rich>
              </c:tx>
              <c:dLblPos val="t"/>
              <c:showLegendKey val="0"/>
              <c:showVal val="1"/>
              <c:showCatName val="0"/>
              <c:showSerName val="0"/>
              <c:showPercent val="0"/>
              <c:showBubbleSize val="0"/>
            </c:dLbl>
            <c:dLbl>
              <c:idx val="14"/>
              <c:tx>
                <c:rich>
                  <a:bodyPr/>
                  <a:lstStyle/>
                  <a:p>
                    <a:r>
                      <a:t>14.42</a:t>
                    </a:r>
                  </a:p>
                </c:rich>
              </c:tx>
              <c:dLblPos val="t"/>
              <c:showLegendKey val="0"/>
              <c:showVal val="1"/>
              <c:showCatName val="0"/>
              <c:showSerName val="0"/>
              <c:showPercent val="0"/>
              <c:showBubbleSize val="0"/>
            </c:dLbl>
            <c:dLbl>
              <c:idx val="15"/>
              <c:tx>
                <c:rich>
                  <a:bodyPr/>
                  <a:lstStyle/>
                  <a:p>
                    <a:r>
                      <a:t>50.63</a:t>
                    </a:r>
                  </a:p>
                </c:rich>
              </c:tx>
              <c:dLblPos val="t"/>
              <c:showLegendKey val="0"/>
              <c:showVal val="1"/>
              <c:showCatName val="0"/>
              <c:showSerName val="0"/>
              <c:showPercent val="0"/>
              <c:showBubbleSize val="0"/>
            </c:dLbl>
            <c:dLbl>
              <c:idx val="16"/>
              <c:tx>
                <c:rich>
                  <a:bodyPr/>
                  <a:lstStyle/>
                  <a:p>
                    <a:r>
                      <a:t>14.0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C$2:$C$18</c:f>
              <c:numCache>
                <c:formatCode>General</c:formatCode>
                <c:ptCount val="17"/>
                <c:pt idx="0">
                  <c:v>13.3333</c:v>
                </c:pt>
                <c:pt idx="1">
                  <c:v>54.1076</c:v>
                </c:pt>
                <c:pt idx="2">
                  <c:v>105.4749</c:v>
                </c:pt>
                <c:pt idx="3">
                  <c:v>77.8583</c:v>
                </c:pt>
                <c:pt idx="4">
                  <c:v>199.8993</c:v>
                </c:pt>
                <c:pt idx="5">
                  <c:v>40.2739</c:v>
                </c:pt>
                <c:pt idx="6">
                  <c:v>44.9224</c:v>
                </c:pt>
                <c:pt idx="7">
                  <c:v>12.1268</c:v>
                </c:pt>
                <c:pt idx="8">
                  <c:v>15.9879</c:v>
                </c:pt>
                <c:pt idx="9">
                  <c:v>19.167</c:v>
                </c:pt>
                <c:pt idx="10">
                  <c:v>24.0072</c:v>
                </c:pt>
                <c:pt idx="11">
                  <c:v>17.4047</c:v>
                </c:pt>
                <c:pt idx="12">
                  <c:v>62.3196</c:v>
                </c:pt>
                <c:pt idx="13">
                  <c:v>53.9246</c:v>
                </c:pt>
                <c:pt idx="14">
                  <c:v>14.4226</c:v>
                </c:pt>
                <c:pt idx="15">
                  <c:v>50.6259</c:v>
                </c:pt>
                <c:pt idx="16">
                  <c:v>14.07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1</a:t>
                    </a:r>
                  </a:p>
                </c:rich>
              </c:tx>
              <c:dLblPos val="ctr"/>
              <c:showLegendKey val="0"/>
              <c:showVal val="1"/>
              <c:showCatName val="0"/>
              <c:showSerName val="0"/>
              <c:showPercent val="0"/>
              <c:showBubbleSize val="0"/>
            </c:dLbl>
            <c:dLbl>
              <c:idx val="6"/>
              <c:tx>
                <c:rich>
                  <a:bodyPr/>
                  <a:lstStyle/>
                  <a:p>
                    <a:r>
                      <a:t>105</a:t>
                    </a:r>
                  </a:p>
                </c:rich>
              </c:tx>
              <c:dLblPos val="ctr"/>
              <c:showLegendKey val="0"/>
              <c:showVal val="1"/>
              <c:showCatName val="0"/>
              <c:showSerName val="0"/>
              <c:showPercent val="0"/>
              <c:showBubbleSize val="0"/>
            </c:dLbl>
            <c:dLbl>
              <c:idx val="7"/>
              <c:tx>
                <c:rich>
                  <a:bodyPr/>
                  <a:lstStyle/>
                  <a:p>
                    <a:r>
                      <a:t>92</a:t>
                    </a:r>
                  </a:p>
                </c:rich>
              </c:tx>
              <c:dLblPos val="ctr"/>
              <c:showLegendKey val="0"/>
              <c:showVal val="1"/>
              <c:showCatName val="0"/>
              <c:showSerName val="0"/>
              <c:showPercent val="0"/>
              <c:showBubbleSize val="0"/>
            </c:dLbl>
            <c:dLbl>
              <c:idx val="8"/>
              <c:tx>
                <c:rich>
                  <a:bodyPr/>
                  <a:lstStyle/>
                  <a:p>
                    <a:r>
                      <a:t>106</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20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93</a:t>
                    </a:r>
                  </a:p>
                </c:rich>
              </c:tx>
              <c:dLblPos val="ctr"/>
              <c:showLegendKey val="0"/>
              <c:showVal val="1"/>
              <c:showCatName val="0"/>
              <c:showSerName val="0"/>
              <c:showPercent val="0"/>
              <c:showBubbleSize val="0"/>
            </c:dLbl>
            <c:dLbl>
              <c:idx val="13"/>
              <c:tx>
                <c:rich>
                  <a:bodyPr/>
                  <a:lstStyle/>
                  <a:p>
                    <a:r>
                      <a:t>88</a:t>
                    </a:r>
                  </a:p>
                </c:rich>
              </c:tx>
              <c:dLblPos val="ctr"/>
              <c:showLegendKey val="0"/>
              <c:showVal val="1"/>
              <c:showCatName val="0"/>
              <c:showSerName val="0"/>
              <c:showPercent val="0"/>
              <c:showBubbleSize val="0"/>
            </c:dLbl>
            <c:dLbl>
              <c:idx val="14"/>
              <c:tx>
                <c:rich>
                  <a:bodyPr/>
                  <a:lstStyle/>
                  <a:p>
                    <a:r>
                      <a:t>114</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5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strCache>
            </c:strRef>
          </c:cat>
          <c:val>
            <c:numRef>
              <c:f>Sheet1!$B$2:$B$18</c:f>
              <c:numCache>
                <c:formatCode>General</c:formatCode>
                <c:ptCount val="17"/>
                <c:pt idx="0">
                  <c:v>0.0</c:v>
                </c:pt>
                <c:pt idx="1">
                  <c:v>0.8791002229685868</c:v>
                </c:pt>
                <c:pt idx="2">
                  <c:v>0.8249760348002233</c:v>
                </c:pt>
                <c:pt idx="3">
                  <c:v>0.821871250814109</c:v>
                </c:pt>
                <c:pt idx="4">
                  <c:v>0.8952258848440717</c:v>
                </c:pt>
                <c:pt idx="5">
                  <c:v>0.9069268197140412</c:v>
                </c:pt>
                <c:pt idx="6">
                  <c:v>1.045037882500717</c:v>
                </c:pt>
                <c:pt idx="7">
                  <c:v>0.9208611652506292</c:v>
                </c:pt>
                <c:pt idx="8">
                  <c:v>1.0630442274554854</c:v>
                </c:pt>
                <c:pt idx="9">
                  <c:v>1.0396397803284663</c:v>
                </c:pt>
                <c:pt idx="10">
                  <c:v>2.0386662587947386</c:v>
                </c:pt>
                <c:pt idx="11">
                  <c:v>0.8917431769588731</c:v>
                </c:pt>
                <c:pt idx="12">
                  <c:v>0.9254098360655738</c:v>
                </c:pt>
                <c:pt idx="13">
                  <c:v>0.8752689767752467</c:v>
                </c:pt>
                <c:pt idx="14">
                  <c:v>1.1359676323794337</c:v>
                </c:pt>
                <c:pt idx="15">
                  <c:v>0.8367917236458767</c:v>
                </c:pt>
                <c:pt idx="16">
                  <c:v>0.56247402687352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1.6e-05</c:v>
                </c:pt>
                <c:pt idx="1">
                  <c:v>4.092007</c:v>
                </c:pt>
                <c:pt idx="2">
                  <c:v>0.954378</c:v>
                </c:pt>
                <c:pt idx="3">
                  <c:v>0.474208</c:v>
                </c:pt>
                <c:pt idx="4">
                  <c:v>0.337024</c:v>
                </c:pt>
                <c:pt idx="5">
                  <c:v>0.194716</c:v>
                </c:pt>
                <c:pt idx="6">
                  <c:v>0.184045</c:v>
                </c:pt>
                <c:pt idx="7">
                  <c:v>0.174687</c:v>
                </c:pt>
                <c:pt idx="8">
                  <c:v>0.053426</c:v>
                </c:pt>
                <c:pt idx="9">
                  <c:v>0.047308</c:v>
                </c:pt>
                <c:pt idx="10">
                  <c:v>0.039373</c:v>
                </c:pt>
                <c:pt idx="11">
                  <c:v>0.037656</c:v>
                </c:pt>
                <c:pt idx="12">
                  <c:v>0.022179</c:v>
                </c:pt>
                <c:pt idx="13">
                  <c:v>0.020463</c:v>
                </c:pt>
                <c:pt idx="14">
                  <c:v>0.017944</c:v>
                </c:pt>
                <c:pt idx="15">
                  <c:v>0.014374</c:v>
                </c:pt>
                <c:pt idx="16">
                  <c:v>0.00556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0</a:t>
                    </a:r>
                  </a:p>
                </c:rich>
              </c:tx>
              <c:dLblPos val="t"/>
              <c:showLegendKey val="0"/>
              <c:showVal val="1"/>
              <c:showCatName val="0"/>
              <c:showSerName val="0"/>
              <c:showPercent val="0"/>
              <c:showBubbleSize val="0"/>
            </c:dLbl>
            <c:dLbl>
              <c:idx val="1"/>
              <c:tx>
                <c:rich>
                  <a:bodyPr/>
                  <a:lstStyle/>
                  <a:p>
                    <a:r>
                      <a:t>52.98</a:t>
                    </a:r>
                  </a:p>
                </c:rich>
              </c:tx>
              <c:dLblPos val="t"/>
              <c:showLegendKey val="0"/>
              <c:showVal val="1"/>
              <c:showCatName val="0"/>
              <c:showSerName val="0"/>
              <c:showPercent val="0"/>
              <c:showBubbleSize val="0"/>
            </c:dLbl>
            <c:dLbl>
              <c:idx val="2"/>
              <c:tx>
                <c:rich>
                  <a:bodyPr/>
                  <a:lstStyle/>
                  <a:p>
                    <a:r>
                      <a:t>106.74</a:t>
                    </a:r>
                  </a:p>
                </c:rich>
              </c:tx>
              <c:dLblPos val="t"/>
              <c:showLegendKey val="0"/>
              <c:showVal val="1"/>
              <c:showCatName val="0"/>
              <c:showSerName val="0"/>
              <c:showPercent val="0"/>
              <c:showBubbleSize val="0"/>
            </c:dLbl>
            <c:dLbl>
              <c:idx val="3"/>
              <c:tx>
                <c:rich>
                  <a:bodyPr/>
                  <a:lstStyle/>
                  <a:p>
                    <a:r>
                      <a:t>77.96</a:t>
                    </a:r>
                  </a:p>
                </c:rich>
              </c:tx>
              <c:dLblPos val="t"/>
              <c:showLegendKey val="0"/>
              <c:showVal val="1"/>
              <c:showCatName val="0"/>
              <c:showSerName val="0"/>
              <c:showPercent val="0"/>
              <c:showBubbleSize val="0"/>
            </c:dLbl>
            <c:dLbl>
              <c:idx val="4"/>
              <c:tx>
                <c:rich>
                  <a:bodyPr/>
                  <a:lstStyle/>
                  <a:p>
                    <a:r>
                      <a:t>225.28</a:t>
                    </a:r>
                  </a:p>
                </c:rich>
              </c:tx>
              <c:dLblPos val="t"/>
              <c:showLegendKey val="0"/>
              <c:showVal val="1"/>
              <c:showCatName val="0"/>
              <c:showSerName val="0"/>
              <c:showPercent val="0"/>
              <c:showBubbleSize val="0"/>
            </c:dLbl>
            <c:dLbl>
              <c:idx val="5"/>
              <c:tx>
                <c:rich>
                  <a:bodyPr/>
                  <a:lstStyle/>
                  <a:p>
                    <a:r>
                      <a:t>12.03</a:t>
                    </a:r>
                  </a:p>
                </c:rich>
              </c:tx>
              <c:dLblPos val="t"/>
              <c:showLegendKey val="0"/>
              <c:showVal val="1"/>
              <c:showCatName val="0"/>
              <c:showSerName val="0"/>
              <c:showPercent val="0"/>
              <c:showBubbleSize val="0"/>
            </c:dLbl>
            <c:dLbl>
              <c:idx val="6"/>
              <c:tx>
                <c:rich>
                  <a:bodyPr/>
                  <a:lstStyle/>
                  <a:p>
                    <a:r>
                      <a:t>39.92</a:t>
                    </a:r>
                  </a:p>
                </c:rich>
              </c:tx>
              <c:dLblPos val="t"/>
              <c:showLegendKey val="0"/>
              <c:showVal val="1"/>
              <c:showCatName val="0"/>
              <c:showSerName val="0"/>
              <c:showPercent val="0"/>
              <c:showBubbleSize val="0"/>
            </c:dLbl>
            <c:dLbl>
              <c:idx val="7"/>
              <c:tx>
                <c:rich>
                  <a:bodyPr/>
                  <a:lstStyle/>
                  <a:p>
                    <a:r>
                      <a:t>44.67</a:t>
                    </a:r>
                  </a:p>
                </c:rich>
              </c:tx>
              <c:dLblPos val="t"/>
              <c:showLegendKey val="0"/>
              <c:showVal val="1"/>
              <c:showCatName val="0"/>
              <c:showSerName val="0"/>
              <c:showPercent val="0"/>
              <c:showBubbleSize val="0"/>
            </c:dLbl>
            <c:dLbl>
              <c:idx val="8"/>
              <c:tx>
                <c:rich>
                  <a:bodyPr/>
                  <a:lstStyle/>
                  <a:p>
                    <a:r>
                      <a:t>23.68</a:t>
                    </a:r>
                  </a:p>
                </c:rich>
              </c:tx>
              <c:dLblPos val="t"/>
              <c:showLegendKey val="0"/>
              <c:showVal val="1"/>
              <c:showCatName val="0"/>
              <c:showSerName val="0"/>
              <c:showPercent val="0"/>
              <c:showBubbleSize val="0"/>
            </c:dLbl>
            <c:dLbl>
              <c:idx val="9"/>
              <c:tx>
                <c:rich>
                  <a:bodyPr/>
                  <a:lstStyle/>
                  <a:p>
                    <a:r>
                      <a:t>15.59</a:t>
                    </a:r>
                  </a:p>
                </c:rich>
              </c:tx>
              <c:dLblPos val="t"/>
              <c:showLegendKey val="0"/>
              <c:showVal val="1"/>
              <c:showCatName val="0"/>
              <c:showSerName val="0"/>
              <c:showPercent val="0"/>
              <c:showBubbleSize val="0"/>
            </c:dLbl>
            <c:dLbl>
              <c:idx val="10"/>
              <c:tx>
                <c:rich>
                  <a:bodyPr/>
                  <a:lstStyle/>
                  <a:p>
                    <a:r>
                      <a:t>17.12</a:t>
                    </a:r>
                  </a:p>
                </c:rich>
              </c:tx>
              <c:dLblPos val="t"/>
              <c:showLegendKey val="0"/>
              <c:showVal val="1"/>
              <c:showCatName val="0"/>
              <c:showSerName val="0"/>
              <c:showPercent val="0"/>
              <c:showBubbleSize val="0"/>
            </c:dLbl>
            <c:dLbl>
              <c:idx val="11"/>
              <c:tx>
                <c:rich>
                  <a:bodyPr/>
                  <a:lstStyle/>
                  <a:p>
                    <a:r>
                      <a:t>14.56</a:t>
                    </a:r>
                  </a:p>
                </c:rich>
              </c:tx>
              <c:dLblPos val="t"/>
              <c:showLegendKey val="0"/>
              <c:showVal val="1"/>
              <c:showCatName val="0"/>
              <c:showSerName val="0"/>
              <c:showPercent val="0"/>
              <c:showBubbleSize val="0"/>
            </c:dLbl>
            <c:dLbl>
              <c:idx val="12"/>
              <c:tx>
                <c:rich>
                  <a:bodyPr/>
                  <a:lstStyle/>
                  <a:p>
                    <a:r>
                      <a:t>23.35</a:t>
                    </a:r>
                  </a:p>
                </c:rich>
              </c:tx>
              <c:dLblPos val="t"/>
              <c:showLegendKey val="0"/>
              <c:showVal val="1"/>
              <c:showCatName val="0"/>
              <c:showSerName val="0"/>
              <c:showPercent val="0"/>
              <c:showBubbleSize val="0"/>
            </c:dLbl>
            <c:dLbl>
              <c:idx val="13"/>
              <c:tx>
                <c:rich>
                  <a:bodyPr/>
                  <a:lstStyle/>
                  <a:p>
                    <a:r>
                      <a:t>50.15</a:t>
                    </a:r>
                  </a:p>
                </c:rich>
              </c:tx>
              <c:dLblPos val="t"/>
              <c:showLegendKey val="0"/>
              <c:showVal val="1"/>
              <c:showCatName val="0"/>
              <c:showSerName val="0"/>
              <c:showPercent val="0"/>
              <c:showBubbleSize val="0"/>
            </c:dLbl>
            <c:dLbl>
              <c:idx val="14"/>
              <c:tx>
                <c:rich>
                  <a:bodyPr/>
                  <a:lstStyle/>
                  <a:p>
                    <a:r>
                      <a:t>65.73</a:t>
                    </a:r>
                  </a:p>
                </c:rich>
              </c:tx>
              <c:dLblPos val="t"/>
              <c:showLegendKey val="0"/>
              <c:showVal val="1"/>
              <c:showCatName val="0"/>
              <c:showSerName val="0"/>
              <c:showPercent val="0"/>
              <c:showBubbleSize val="0"/>
            </c:dLbl>
            <c:dLbl>
              <c:idx val="15"/>
              <c:tx>
                <c:rich>
                  <a:bodyPr/>
                  <a:lstStyle/>
                  <a:p>
                    <a:r>
                      <a:t>54.65</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C$2:$C$18</c:f>
              <c:numCache>
                <c:formatCode>General</c:formatCode>
                <c:ptCount val="17"/>
                <c:pt idx="0">
                  <c:v>8.0</c:v>
                </c:pt>
                <c:pt idx="1">
                  <c:v>52.9751</c:v>
                </c:pt>
                <c:pt idx="2">
                  <c:v>106.7418</c:v>
                </c:pt>
                <c:pt idx="3">
                  <c:v>77.9563</c:v>
                </c:pt>
                <c:pt idx="4">
                  <c:v>225.2834</c:v>
                </c:pt>
                <c:pt idx="5">
                  <c:v>12.0292</c:v>
                </c:pt>
                <c:pt idx="6">
                  <c:v>39.923</c:v>
                </c:pt>
                <c:pt idx="7">
                  <c:v>44.6656</c:v>
                </c:pt>
                <c:pt idx="8">
                  <c:v>23.6817</c:v>
                </c:pt>
                <c:pt idx="9">
                  <c:v>15.5875</c:v>
                </c:pt>
                <c:pt idx="10">
                  <c:v>17.1187</c:v>
                </c:pt>
                <c:pt idx="11">
                  <c:v>14.5559</c:v>
                </c:pt>
                <c:pt idx="12">
                  <c:v>23.3463</c:v>
                </c:pt>
                <c:pt idx="13">
                  <c:v>50.1544</c:v>
                </c:pt>
                <c:pt idx="14">
                  <c:v>65.7289</c:v>
                </c:pt>
                <c:pt idx="15">
                  <c:v>54.654</c:v>
                </c:pt>
                <c:pt idx="16">
                  <c:v>13.94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96</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99</a:t>
                    </a:r>
                  </a:p>
                </c:rich>
              </c:tx>
              <c:dLblPos val="ctr"/>
              <c:showLegendKey val="0"/>
              <c:showVal val="1"/>
              <c:showCatName val="0"/>
              <c:showSerName val="0"/>
              <c:showPercent val="0"/>
              <c:showBubbleSize val="0"/>
            </c:dLbl>
            <c:dLbl>
              <c:idx val="8"/>
              <c:tx>
                <c:rich>
                  <a:bodyPr/>
                  <a:lstStyle/>
                  <a:p>
                    <a:r>
                      <a:t>198</a:t>
                    </a:r>
                  </a:p>
                </c:rich>
              </c:tx>
              <c:dLblPos val="ctr"/>
              <c:showLegendKey val="0"/>
              <c:showVal val="1"/>
              <c:showCatName val="0"/>
              <c:showSerName val="0"/>
              <c:showPercent val="0"/>
              <c:showBubbleSize val="0"/>
            </c:dLbl>
            <c:dLbl>
              <c:idx val="9"/>
              <c:tx>
                <c:rich>
                  <a:bodyPr/>
                  <a:lstStyle/>
                  <a:p>
                    <a:r>
                      <a:t>91</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87</a:t>
                    </a:r>
                  </a:p>
                </c:rich>
              </c:tx>
              <c:dLblPos val="ctr"/>
              <c:showLegendKey val="0"/>
              <c:showVal val="1"/>
              <c:showCatName val="0"/>
              <c:showSerName val="0"/>
              <c:showPercent val="0"/>
              <c:showBubbleSize val="0"/>
            </c:dLbl>
            <c:dLbl>
              <c:idx val="12"/>
              <c:tx>
                <c:rich>
                  <a:bodyPr/>
                  <a:lstStyle/>
                  <a:p>
                    <a:r>
                      <a:t>89</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5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0.0</c:v>
                </c:pt>
                <c:pt idx="1">
                  <c:v>0.916928893988905</c:v>
                </c:pt>
                <c:pt idx="2">
                  <c:v>0.8248415790583591</c:v>
                </c:pt>
                <c:pt idx="3">
                  <c:v>0.8523294875504838</c:v>
                </c:pt>
                <c:pt idx="4">
                  <c:v>0.955792769389584</c:v>
                </c:pt>
                <c:pt idx="5">
                  <c:v>0.9163623357554309</c:v>
                </c:pt>
                <c:pt idx="6">
                  <c:v>0.8727640888484227</c:v>
                </c:pt>
                <c:pt idx="7">
                  <c:v>0.9871608677716307</c:v>
                </c:pt>
                <c:pt idx="8">
                  <c:v>1.978887324987036</c:v>
                </c:pt>
                <c:pt idx="9">
                  <c:v>0.9137581364804048</c:v>
                </c:pt>
                <c:pt idx="10">
                  <c:v>0.8695066472328961</c:v>
                </c:pt>
                <c:pt idx="11">
                  <c:v>0.8741758751973256</c:v>
                </c:pt>
                <c:pt idx="12">
                  <c:v>0.8869116647338745</c:v>
                </c:pt>
                <c:pt idx="13">
                  <c:v>1.1053910976663786</c:v>
                </c:pt>
                <c:pt idx="14">
                  <c:v>1.046602508019831</c:v>
                </c:pt>
                <c:pt idx="15">
                  <c:v>0.8009584308480998</c:v>
                </c:pt>
                <c:pt idx="16">
                  <c:v>0.52793852575656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1.6e-05</c:v>
                </c:pt>
                <c:pt idx="1">
                  <c:v>4.092007</c:v>
                </c:pt>
                <c:pt idx="2">
                  <c:v>0.954378</c:v>
                </c:pt>
                <c:pt idx="3">
                  <c:v>0.474208</c:v>
                </c:pt>
                <c:pt idx="4">
                  <c:v>0.337024</c:v>
                </c:pt>
                <c:pt idx="5">
                  <c:v>0.194716</c:v>
                </c:pt>
                <c:pt idx="6">
                  <c:v>0.184045</c:v>
                </c:pt>
                <c:pt idx="7">
                  <c:v>0.174687</c:v>
                </c:pt>
                <c:pt idx="8">
                  <c:v>0.053426</c:v>
                </c:pt>
                <c:pt idx="9">
                  <c:v>0.047308</c:v>
                </c:pt>
                <c:pt idx="10">
                  <c:v>0.039373</c:v>
                </c:pt>
                <c:pt idx="11">
                  <c:v>0.037656</c:v>
                </c:pt>
                <c:pt idx="12">
                  <c:v>0.022179</c:v>
                </c:pt>
                <c:pt idx="13">
                  <c:v>0.020463</c:v>
                </c:pt>
                <c:pt idx="14">
                  <c:v>0.017944</c:v>
                </c:pt>
                <c:pt idx="15">
                  <c:v>0.014374</c:v>
                </c:pt>
                <c:pt idx="16">
                  <c:v>0.00556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00</a:t>
                    </a:r>
                  </a:p>
                </c:rich>
              </c:tx>
              <c:dLblPos val="t"/>
              <c:showLegendKey val="0"/>
              <c:showVal val="1"/>
              <c:showCatName val="0"/>
              <c:showSerName val="0"/>
              <c:showPercent val="0"/>
              <c:showBubbleSize val="0"/>
            </c:dLbl>
            <c:dLbl>
              <c:idx val="1"/>
              <c:tx>
                <c:rich>
                  <a:bodyPr/>
                  <a:lstStyle/>
                  <a:p>
                    <a:r>
                      <a:t>52.98</a:t>
                    </a:r>
                  </a:p>
                </c:rich>
              </c:tx>
              <c:dLblPos val="t"/>
              <c:showLegendKey val="0"/>
              <c:showVal val="1"/>
              <c:showCatName val="0"/>
              <c:showSerName val="0"/>
              <c:showPercent val="0"/>
              <c:showBubbleSize val="0"/>
            </c:dLbl>
            <c:dLbl>
              <c:idx val="2"/>
              <c:tx>
                <c:rich>
                  <a:bodyPr/>
                  <a:lstStyle/>
                  <a:p>
                    <a:r>
                      <a:t>106.74</a:t>
                    </a:r>
                  </a:p>
                </c:rich>
              </c:tx>
              <c:dLblPos val="t"/>
              <c:showLegendKey val="0"/>
              <c:showVal val="1"/>
              <c:showCatName val="0"/>
              <c:showSerName val="0"/>
              <c:showPercent val="0"/>
              <c:showBubbleSize val="0"/>
            </c:dLbl>
            <c:dLbl>
              <c:idx val="3"/>
              <c:tx>
                <c:rich>
                  <a:bodyPr/>
                  <a:lstStyle/>
                  <a:p>
                    <a:r>
                      <a:t>77.96</a:t>
                    </a:r>
                  </a:p>
                </c:rich>
              </c:tx>
              <c:dLblPos val="t"/>
              <c:showLegendKey val="0"/>
              <c:showVal val="1"/>
              <c:showCatName val="0"/>
              <c:showSerName val="0"/>
              <c:showPercent val="0"/>
              <c:showBubbleSize val="0"/>
            </c:dLbl>
            <c:dLbl>
              <c:idx val="4"/>
              <c:tx>
                <c:rich>
                  <a:bodyPr/>
                  <a:lstStyle/>
                  <a:p>
                    <a:r>
                      <a:t>225.28</a:t>
                    </a:r>
                  </a:p>
                </c:rich>
              </c:tx>
              <c:dLblPos val="t"/>
              <c:showLegendKey val="0"/>
              <c:showVal val="1"/>
              <c:showCatName val="0"/>
              <c:showSerName val="0"/>
              <c:showPercent val="0"/>
              <c:showBubbleSize val="0"/>
            </c:dLbl>
            <c:dLbl>
              <c:idx val="5"/>
              <c:tx>
                <c:rich>
                  <a:bodyPr/>
                  <a:lstStyle/>
                  <a:p>
                    <a:r>
                      <a:t>12.03</a:t>
                    </a:r>
                  </a:p>
                </c:rich>
              </c:tx>
              <c:dLblPos val="t"/>
              <c:showLegendKey val="0"/>
              <c:showVal val="1"/>
              <c:showCatName val="0"/>
              <c:showSerName val="0"/>
              <c:showPercent val="0"/>
              <c:showBubbleSize val="0"/>
            </c:dLbl>
            <c:dLbl>
              <c:idx val="6"/>
              <c:tx>
                <c:rich>
                  <a:bodyPr/>
                  <a:lstStyle/>
                  <a:p>
                    <a:r>
                      <a:t>39.92</a:t>
                    </a:r>
                  </a:p>
                </c:rich>
              </c:tx>
              <c:dLblPos val="t"/>
              <c:showLegendKey val="0"/>
              <c:showVal val="1"/>
              <c:showCatName val="0"/>
              <c:showSerName val="0"/>
              <c:showPercent val="0"/>
              <c:showBubbleSize val="0"/>
            </c:dLbl>
            <c:dLbl>
              <c:idx val="7"/>
              <c:tx>
                <c:rich>
                  <a:bodyPr/>
                  <a:lstStyle/>
                  <a:p>
                    <a:r>
                      <a:t>44.67</a:t>
                    </a:r>
                  </a:p>
                </c:rich>
              </c:tx>
              <c:dLblPos val="t"/>
              <c:showLegendKey val="0"/>
              <c:showVal val="1"/>
              <c:showCatName val="0"/>
              <c:showSerName val="0"/>
              <c:showPercent val="0"/>
              <c:showBubbleSize val="0"/>
            </c:dLbl>
            <c:dLbl>
              <c:idx val="8"/>
              <c:tx>
                <c:rich>
                  <a:bodyPr/>
                  <a:lstStyle/>
                  <a:p>
                    <a:r>
                      <a:t>23.68</a:t>
                    </a:r>
                  </a:p>
                </c:rich>
              </c:tx>
              <c:dLblPos val="t"/>
              <c:showLegendKey val="0"/>
              <c:showVal val="1"/>
              <c:showCatName val="0"/>
              <c:showSerName val="0"/>
              <c:showPercent val="0"/>
              <c:showBubbleSize val="0"/>
            </c:dLbl>
            <c:dLbl>
              <c:idx val="9"/>
              <c:tx>
                <c:rich>
                  <a:bodyPr/>
                  <a:lstStyle/>
                  <a:p>
                    <a:r>
                      <a:t>15.59</a:t>
                    </a:r>
                  </a:p>
                </c:rich>
              </c:tx>
              <c:dLblPos val="t"/>
              <c:showLegendKey val="0"/>
              <c:showVal val="1"/>
              <c:showCatName val="0"/>
              <c:showSerName val="0"/>
              <c:showPercent val="0"/>
              <c:showBubbleSize val="0"/>
            </c:dLbl>
            <c:dLbl>
              <c:idx val="10"/>
              <c:tx>
                <c:rich>
                  <a:bodyPr/>
                  <a:lstStyle/>
                  <a:p>
                    <a:r>
                      <a:t>17.12</a:t>
                    </a:r>
                  </a:p>
                </c:rich>
              </c:tx>
              <c:dLblPos val="t"/>
              <c:showLegendKey val="0"/>
              <c:showVal val="1"/>
              <c:showCatName val="0"/>
              <c:showSerName val="0"/>
              <c:showPercent val="0"/>
              <c:showBubbleSize val="0"/>
            </c:dLbl>
            <c:dLbl>
              <c:idx val="11"/>
              <c:tx>
                <c:rich>
                  <a:bodyPr/>
                  <a:lstStyle/>
                  <a:p>
                    <a:r>
                      <a:t>14.56</a:t>
                    </a:r>
                  </a:p>
                </c:rich>
              </c:tx>
              <c:dLblPos val="t"/>
              <c:showLegendKey val="0"/>
              <c:showVal val="1"/>
              <c:showCatName val="0"/>
              <c:showSerName val="0"/>
              <c:showPercent val="0"/>
              <c:showBubbleSize val="0"/>
            </c:dLbl>
            <c:dLbl>
              <c:idx val="12"/>
              <c:tx>
                <c:rich>
                  <a:bodyPr/>
                  <a:lstStyle/>
                  <a:p>
                    <a:r>
                      <a:t>23.35</a:t>
                    </a:r>
                  </a:p>
                </c:rich>
              </c:tx>
              <c:dLblPos val="t"/>
              <c:showLegendKey val="0"/>
              <c:showVal val="1"/>
              <c:showCatName val="0"/>
              <c:showSerName val="0"/>
              <c:showPercent val="0"/>
              <c:showBubbleSize val="0"/>
            </c:dLbl>
            <c:dLbl>
              <c:idx val="13"/>
              <c:tx>
                <c:rich>
                  <a:bodyPr/>
                  <a:lstStyle/>
                  <a:p>
                    <a:r>
                      <a:t>50.15</a:t>
                    </a:r>
                  </a:p>
                </c:rich>
              </c:tx>
              <c:dLblPos val="t"/>
              <c:showLegendKey val="0"/>
              <c:showVal val="1"/>
              <c:showCatName val="0"/>
              <c:showSerName val="0"/>
              <c:showPercent val="0"/>
              <c:showBubbleSize val="0"/>
            </c:dLbl>
            <c:dLbl>
              <c:idx val="14"/>
              <c:tx>
                <c:rich>
                  <a:bodyPr/>
                  <a:lstStyle/>
                  <a:p>
                    <a:r>
                      <a:t>65.73</a:t>
                    </a:r>
                  </a:p>
                </c:rich>
              </c:tx>
              <c:dLblPos val="t"/>
              <c:showLegendKey val="0"/>
              <c:showVal val="1"/>
              <c:showCatName val="0"/>
              <c:showSerName val="0"/>
              <c:showPercent val="0"/>
              <c:showBubbleSize val="0"/>
            </c:dLbl>
            <c:dLbl>
              <c:idx val="15"/>
              <c:tx>
                <c:rich>
                  <a:bodyPr/>
                  <a:lstStyle/>
                  <a:p>
                    <a:r>
                      <a:t>54.65</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C$2:$C$18</c:f>
              <c:numCache>
                <c:formatCode>General</c:formatCode>
                <c:ptCount val="17"/>
                <c:pt idx="0">
                  <c:v>8.0</c:v>
                </c:pt>
                <c:pt idx="1">
                  <c:v>52.9751</c:v>
                </c:pt>
                <c:pt idx="2">
                  <c:v>106.7418</c:v>
                </c:pt>
                <c:pt idx="3">
                  <c:v>77.9563</c:v>
                </c:pt>
                <c:pt idx="4">
                  <c:v>225.2834</c:v>
                </c:pt>
                <c:pt idx="5">
                  <c:v>12.0292</c:v>
                </c:pt>
                <c:pt idx="6">
                  <c:v>39.923</c:v>
                </c:pt>
                <c:pt idx="7">
                  <c:v>44.6656</c:v>
                </c:pt>
                <c:pt idx="8">
                  <c:v>23.6817</c:v>
                </c:pt>
                <c:pt idx="9">
                  <c:v>15.5875</c:v>
                </c:pt>
                <c:pt idx="10">
                  <c:v>17.1187</c:v>
                </c:pt>
                <c:pt idx="11">
                  <c:v>14.5559</c:v>
                </c:pt>
                <c:pt idx="12">
                  <c:v>23.3463</c:v>
                </c:pt>
                <c:pt idx="13">
                  <c:v>50.1544</c:v>
                </c:pt>
                <c:pt idx="14">
                  <c:v>65.7289</c:v>
                </c:pt>
                <c:pt idx="15">
                  <c:v>54.654</c:v>
                </c:pt>
                <c:pt idx="16">
                  <c:v>13.94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96</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99</a:t>
                    </a:r>
                  </a:p>
                </c:rich>
              </c:tx>
              <c:dLblPos val="ctr"/>
              <c:showLegendKey val="0"/>
              <c:showVal val="1"/>
              <c:showCatName val="0"/>
              <c:showSerName val="0"/>
              <c:showPercent val="0"/>
              <c:showBubbleSize val="0"/>
            </c:dLbl>
            <c:dLbl>
              <c:idx val="8"/>
              <c:tx>
                <c:rich>
                  <a:bodyPr/>
                  <a:lstStyle/>
                  <a:p>
                    <a:r>
                      <a:t>198</a:t>
                    </a:r>
                  </a:p>
                </c:rich>
              </c:tx>
              <c:dLblPos val="ctr"/>
              <c:showLegendKey val="0"/>
              <c:showVal val="1"/>
              <c:showCatName val="0"/>
              <c:showSerName val="0"/>
              <c:showPercent val="0"/>
              <c:showBubbleSize val="0"/>
            </c:dLbl>
            <c:dLbl>
              <c:idx val="9"/>
              <c:tx>
                <c:rich>
                  <a:bodyPr/>
                  <a:lstStyle/>
                  <a:p>
                    <a:r>
                      <a:t>91</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87</a:t>
                    </a:r>
                  </a:p>
                </c:rich>
              </c:tx>
              <c:dLblPos val="ctr"/>
              <c:showLegendKey val="0"/>
              <c:showVal val="1"/>
              <c:showCatName val="0"/>
              <c:showSerName val="0"/>
              <c:showPercent val="0"/>
              <c:showBubbleSize val="0"/>
            </c:dLbl>
            <c:dLbl>
              <c:idx val="12"/>
              <c:tx>
                <c:rich>
                  <a:bodyPr/>
                  <a:lstStyle/>
                  <a:p>
                    <a:r>
                      <a:t>89</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5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0.0</c:v>
                </c:pt>
                <c:pt idx="1">
                  <c:v>0.916928893988905</c:v>
                </c:pt>
                <c:pt idx="2">
                  <c:v>0.8248415790583591</c:v>
                </c:pt>
                <c:pt idx="3">
                  <c:v>0.8523294875504838</c:v>
                </c:pt>
                <c:pt idx="4">
                  <c:v>0.955792769389584</c:v>
                </c:pt>
                <c:pt idx="5">
                  <c:v>0.9163623357554309</c:v>
                </c:pt>
                <c:pt idx="6">
                  <c:v>0.8727640888484227</c:v>
                </c:pt>
                <c:pt idx="7">
                  <c:v>0.9871608677716307</c:v>
                </c:pt>
                <c:pt idx="8">
                  <c:v>1.978887324987036</c:v>
                </c:pt>
                <c:pt idx="9">
                  <c:v>0.9137581364804048</c:v>
                </c:pt>
                <c:pt idx="10">
                  <c:v>0.8695066472328961</c:v>
                </c:pt>
                <c:pt idx="11">
                  <c:v>0.8741758751973256</c:v>
                </c:pt>
                <c:pt idx="12">
                  <c:v>0.8869116647338745</c:v>
                </c:pt>
                <c:pt idx="13">
                  <c:v>1.1053910976663786</c:v>
                </c:pt>
                <c:pt idx="14">
                  <c:v>1.046602508019831</c:v>
                </c:pt>
                <c:pt idx="15">
                  <c:v>0.8009584308480998</c:v>
                </c:pt>
                <c:pt idx="16">
                  <c:v>0.52793852575656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B$2:$B$18</c:f>
              <c:numCache>
                <c:formatCode>General</c:formatCode>
                <c:ptCount val="17"/>
                <c:pt idx="0">
                  <c:v>1.7e-05</c:v>
                </c:pt>
                <c:pt idx="1">
                  <c:v>1.041515</c:v>
                </c:pt>
                <c:pt idx="2">
                  <c:v>0.249367</c:v>
                </c:pt>
                <c:pt idx="3">
                  <c:v>0.173965</c:v>
                </c:pt>
                <c:pt idx="4">
                  <c:v>0.112908</c:v>
                </c:pt>
                <c:pt idx="5">
                  <c:v>0.068598</c:v>
                </c:pt>
                <c:pt idx="6">
                  <c:v>0.052631</c:v>
                </c:pt>
                <c:pt idx="7">
                  <c:v>0.044496</c:v>
                </c:pt>
                <c:pt idx="8">
                  <c:v>0.017378</c:v>
                </c:pt>
                <c:pt idx="9">
                  <c:v>0.016813</c:v>
                </c:pt>
                <c:pt idx="10">
                  <c:v>0.01388</c:v>
                </c:pt>
                <c:pt idx="11">
                  <c:v>0.008967</c:v>
                </c:pt>
                <c:pt idx="12">
                  <c:v>0.008778</c:v>
                </c:pt>
                <c:pt idx="13">
                  <c:v>0.008512</c:v>
                </c:pt>
                <c:pt idx="14">
                  <c:v>0.007417</c:v>
                </c:pt>
                <c:pt idx="15">
                  <c:v>0.003957</c:v>
                </c:pt>
                <c:pt idx="16">
                  <c:v>0.0018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50</a:t>
                    </a:r>
                  </a:p>
                </c:rich>
              </c:tx>
              <c:dLblPos val="t"/>
              <c:showLegendKey val="0"/>
              <c:showVal val="1"/>
              <c:showCatName val="0"/>
              <c:showSerName val="0"/>
              <c:showPercent val="0"/>
              <c:showBubbleSize val="0"/>
            </c:dLbl>
            <c:dLbl>
              <c:idx val="1"/>
              <c:tx>
                <c:rich>
                  <a:bodyPr/>
                  <a:lstStyle/>
                  <a:p>
                    <a:r>
                      <a:t>50.00</a:t>
                    </a:r>
                  </a:p>
                </c:rich>
              </c:tx>
              <c:dLblPos val="t"/>
              <c:showLegendKey val="0"/>
              <c:showVal val="1"/>
              <c:showCatName val="0"/>
              <c:showSerName val="0"/>
              <c:showPercent val="0"/>
              <c:showBubbleSize val="0"/>
            </c:dLbl>
            <c:dLbl>
              <c:idx val="2"/>
              <c:tx>
                <c:rich>
                  <a:bodyPr/>
                  <a:lstStyle/>
                  <a:p>
                    <a:r>
                      <a:t>64.12</a:t>
                    </a:r>
                  </a:p>
                </c:rich>
              </c:tx>
              <c:dLblPos val="t"/>
              <c:showLegendKey val="0"/>
              <c:showVal val="1"/>
              <c:showCatName val="0"/>
              <c:showSerName val="0"/>
              <c:showPercent val="0"/>
              <c:showBubbleSize val="0"/>
            </c:dLbl>
            <c:dLbl>
              <c:idx val="3"/>
              <c:tx>
                <c:rich>
                  <a:bodyPr/>
                  <a:lstStyle/>
                  <a:p>
                    <a:r>
                      <a:t>16.24</a:t>
                    </a:r>
                  </a:p>
                </c:rich>
              </c:tx>
              <c:dLblPos val="t"/>
              <c:showLegendKey val="0"/>
              <c:showVal val="1"/>
              <c:showCatName val="0"/>
              <c:showSerName val="0"/>
              <c:showPercent val="0"/>
              <c:showBubbleSize val="0"/>
            </c:dLbl>
            <c:dLbl>
              <c:idx val="4"/>
              <c:tx>
                <c:rich>
                  <a:bodyPr/>
                  <a:lstStyle/>
                  <a:p>
                    <a:r>
                      <a:t>64.33</a:t>
                    </a:r>
                  </a:p>
                </c:rich>
              </c:tx>
              <c:dLblPos val="t"/>
              <c:showLegendKey val="0"/>
              <c:showVal val="1"/>
              <c:showCatName val="0"/>
              <c:showSerName val="0"/>
              <c:showPercent val="0"/>
              <c:showBubbleSize val="0"/>
            </c:dLbl>
            <c:dLbl>
              <c:idx val="5"/>
              <c:tx>
                <c:rich>
                  <a:bodyPr/>
                  <a:lstStyle/>
                  <a:p>
                    <a:r>
                      <a:t>144.42</a:t>
                    </a:r>
                  </a:p>
                </c:rich>
              </c:tx>
              <c:dLblPos val="t"/>
              <c:showLegendKey val="0"/>
              <c:showVal val="1"/>
              <c:showCatName val="0"/>
              <c:showSerName val="0"/>
              <c:showPercent val="0"/>
              <c:showBubbleSize val="0"/>
            </c:dLbl>
            <c:dLbl>
              <c:idx val="6"/>
              <c:tx>
                <c:rich>
                  <a:bodyPr/>
                  <a:lstStyle/>
                  <a:p>
                    <a:r>
                      <a:t>39.54</a:t>
                    </a:r>
                  </a:p>
                </c:rich>
              </c:tx>
              <c:dLblPos val="t"/>
              <c:showLegendKey val="0"/>
              <c:showVal val="1"/>
              <c:showCatName val="0"/>
              <c:showSerName val="0"/>
              <c:showPercent val="0"/>
              <c:showBubbleSize val="0"/>
            </c:dLbl>
            <c:dLbl>
              <c:idx val="7"/>
              <c:tx>
                <c:rich>
                  <a:bodyPr/>
                  <a:lstStyle/>
                  <a:p>
                    <a:r>
                      <a:t>43.75</a:t>
                    </a:r>
                  </a:p>
                </c:rich>
              </c:tx>
              <c:dLblPos val="t"/>
              <c:showLegendKey val="0"/>
              <c:showVal val="1"/>
              <c:showCatName val="0"/>
              <c:showSerName val="0"/>
              <c:showPercent val="0"/>
              <c:showBubbleSize val="0"/>
            </c:dLbl>
            <c:dLbl>
              <c:idx val="8"/>
              <c:tx>
                <c:rich>
                  <a:bodyPr/>
                  <a:lstStyle/>
                  <a:p>
                    <a:r>
                      <a:t>11.21</a:t>
                    </a:r>
                  </a:p>
                </c:rich>
              </c:tx>
              <c:dLblPos val="t"/>
              <c:showLegendKey val="0"/>
              <c:showVal val="1"/>
              <c:showCatName val="0"/>
              <c:showSerName val="0"/>
              <c:showPercent val="0"/>
              <c:showBubbleSize val="0"/>
            </c:dLbl>
            <c:dLbl>
              <c:idx val="9"/>
              <c:tx>
                <c:rich>
                  <a:bodyPr/>
                  <a:lstStyle/>
                  <a:p>
                    <a:r>
                      <a:t>48.88</a:t>
                    </a:r>
                  </a:p>
                </c:rich>
              </c:tx>
              <c:dLblPos val="t"/>
              <c:showLegendKey val="0"/>
              <c:showVal val="1"/>
              <c:showCatName val="0"/>
              <c:showSerName val="0"/>
              <c:showPercent val="0"/>
              <c:showBubbleSize val="0"/>
            </c:dLbl>
            <c:dLbl>
              <c:idx val="10"/>
              <c:tx>
                <c:rich>
                  <a:bodyPr/>
                  <a:lstStyle/>
                  <a:p>
                    <a:r>
                      <a:t>22.94</a:t>
                    </a:r>
                  </a:p>
                </c:rich>
              </c:tx>
              <c:dLblPos val="t"/>
              <c:showLegendKey val="0"/>
              <c:showVal val="1"/>
              <c:showCatName val="0"/>
              <c:showSerName val="0"/>
              <c:showPercent val="0"/>
              <c:showBubbleSize val="0"/>
            </c:dLbl>
            <c:dLbl>
              <c:idx val="11"/>
              <c:tx>
                <c:rich>
                  <a:bodyPr/>
                  <a:lstStyle/>
                  <a:p>
                    <a:r>
                      <a:t>54.02</a:t>
                    </a:r>
                  </a:p>
                </c:rich>
              </c:tx>
              <c:dLblPos val="t"/>
              <c:showLegendKey val="0"/>
              <c:showVal val="1"/>
              <c:showCatName val="0"/>
              <c:showSerName val="0"/>
              <c:showPercent val="0"/>
              <c:showBubbleSize val="0"/>
            </c:dLbl>
            <c:dLbl>
              <c:idx val="12"/>
              <c:tx>
                <c:rich>
                  <a:bodyPr/>
                  <a:lstStyle/>
                  <a:p>
                    <a:r>
                      <a:t>48.50</a:t>
                    </a:r>
                  </a:p>
                </c:rich>
              </c:tx>
              <c:dLblPos val="t"/>
              <c:showLegendKey val="0"/>
              <c:showVal val="1"/>
              <c:showCatName val="0"/>
              <c:showSerName val="0"/>
              <c:showPercent val="0"/>
              <c:showBubbleSize val="0"/>
            </c:dLbl>
            <c:dLbl>
              <c:idx val="13"/>
              <c:tx>
                <c:rich>
                  <a:bodyPr/>
                  <a:lstStyle/>
                  <a:p>
                    <a:r>
                      <a:t>12.65</a:t>
                    </a:r>
                  </a:p>
                </c:rich>
              </c:tx>
              <c:dLblPos val="t"/>
              <c:showLegendKey val="0"/>
              <c:showVal val="1"/>
              <c:showCatName val="0"/>
              <c:showSerName val="0"/>
              <c:showPercent val="0"/>
              <c:showBubbleSize val="0"/>
            </c:dLbl>
            <c:dLbl>
              <c:idx val="14"/>
              <c:tx>
                <c:rich>
                  <a:bodyPr/>
                  <a:lstStyle/>
                  <a:p>
                    <a:r>
                      <a:t>15.20</a:t>
                    </a:r>
                  </a:p>
                </c:rich>
              </c:tx>
              <c:dLblPos val="t"/>
              <c:showLegendKey val="0"/>
              <c:showVal val="1"/>
              <c:showCatName val="0"/>
              <c:showSerName val="0"/>
              <c:showPercent val="0"/>
              <c:showBubbleSize val="0"/>
            </c:dLbl>
            <c:dLbl>
              <c:idx val="15"/>
              <c:tx>
                <c:rich>
                  <a:bodyPr/>
                  <a:lstStyle/>
                  <a:p>
                    <a:r>
                      <a:t>16.84</a:t>
                    </a:r>
                  </a:p>
                </c:rich>
              </c:tx>
              <c:dLblPos val="t"/>
              <c:showLegendKey val="0"/>
              <c:showVal val="1"/>
              <c:showCatName val="0"/>
              <c:showSerName val="0"/>
              <c:showPercent val="0"/>
              <c:showBubbleSize val="0"/>
            </c:dLbl>
            <c:dLbl>
              <c:idx val="16"/>
              <c:tx>
                <c:rich>
                  <a:bodyPr/>
                  <a:lstStyle/>
                  <a:p>
                    <a:r>
                      <a:t>12.9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C$2:$C$18</c:f>
              <c:numCache>
                <c:formatCode>General</c:formatCode>
                <c:ptCount val="17"/>
                <c:pt idx="0">
                  <c:v>8.5</c:v>
                </c:pt>
                <c:pt idx="1">
                  <c:v>49.9983</c:v>
                </c:pt>
                <c:pt idx="2">
                  <c:v>64.1211</c:v>
                </c:pt>
                <c:pt idx="3">
                  <c:v>16.2417</c:v>
                </c:pt>
                <c:pt idx="4">
                  <c:v>64.335</c:v>
                </c:pt>
                <c:pt idx="5">
                  <c:v>144.4168</c:v>
                </c:pt>
                <c:pt idx="6">
                  <c:v>39.5424</c:v>
                </c:pt>
                <c:pt idx="7">
                  <c:v>43.7522</c:v>
                </c:pt>
                <c:pt idx="8">
                  <c:v>11.2116</c:v>
                </c:pt>
                <c:pt idx="9">
                  <c:v>48.875</c:v>
                </c:pt>
                <c:pt idx="10">
                  <c:v>22.9421</c:v>
                </c:pt>
                <c:pt idx="11">
                  <c:v>54.0181</c:v>
                </c:pt>
                <c:pt idx="12">
                  <c:v>48.4972</c:v>
                </c:pt>
                <c:pt idx="13">
                  <c:v>12.6478</c:v>
                </c:pt>
                <c:pt idx="14">
                  <c:v>15.1988</c:v>
                </c:pt>
                <c:pt idx="15">
                  <c:v>16.8383</c:v>
                </c:pt>
                <c:pt idx="16">
                  <c:v>12.972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1</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110</a:t>
                    </a:r>
                  </a:p>
                </c:rich>
              </c:tx>
              <c:dLblPos val="ctr"/>
              <c:showLegendKey val="0"/>
              <c:showVal val="1"/>
              <c:showCatName val="0"/>
              <c:showSerName val="0"/>
              <c:showPercent val="0"/>
              <c:showBubbleSize val="0"/>
            </c:dLbl>
            <c:dLbl>
              <c:idx val="8"/>
              <c:tx>
                <c:rich>
                  <a:bodyPr/>
                  <a:lstStyle/>
                  <a:p>
                    <a:r>
                      <a:t>96</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81</a:t>
                    </a:r>
                  </a:p>
                </c:rich>
              </c:tx>
              <c:dLblPos val="ctr"/>
              <c:showLegendKey val="0"/>
              <c:showVal val="1"/>
              <c:showCatName val="0"/>
              <c:showSerName val="0"/>
              <c:showPercent val="0"/>
              <c:showBubbleSize val="0"/>
            </c:dLbl>
            <c:dLbl>
              <c:idx val="11"/>
              <c:tx>
                <c:rich>
                  <a:bodyPr/>
                  <a:lstStyle/>
                  <a:p>
                    <a:r>
                      <a:t>155</a:t>
                    </a:r>
                  </a:p>
                </c:rich>
              </c:tx>
              <c:dLblPos val="ctr"/>
              <c:showLegendKey val="0"/>
              <c:showVal val="1"/>
              <c:showCatName val="0"/>
              <c:showSerName val="0"/>
              <c:showPercent val="0"/>
              <c:showBubbleSize val="0"/>
            </c:dLbl>
            <c:dLbl>
              <c:idx val="12"/>
              <c:tx>
                <c:rich>
                  <a:bodyPr/>
                  <a:lstStyle/>
                  <a:p>
                    <a:r>
                      <a:t>102</a:t>
                    </a:r>
                  </a:p>
                </c:rich>
              </c:tx>
              <c:dLblPos val="ctr"/>
              <c:showLegendKey val="0"/>
              <c:showVal val="1"/>
              <c:showCatName val="0"/>
              <c:showSerName val="0"/>
              <c:showPercent val="0"/>
              <c:showBubbleSize val="0"/>
            </c:dLbl>
            <c:dLbl>
              <c:idx val="13"/>
              <c:tx>
                <c:rich>
                  <a:bodyPr/>
                  <a:lstStyle/>
                  <a:p>
                    <a:r>
                      <a:t>86</a:t>
                    </a:r>
                  </a:p>
                </c:rich>
              </c:tx>
              <c:dLblPos val="ctr"/>
              <c:showLegendKey val="0"/>
              <c:showVal val="1"/>
              <c:showCatName val="0"/>
              <c:showSerName val="0"/>
              <c:showPercent val="0"/>
              <c:showBubbleSize val="0"/>
            </c:dLbl>
            <c:dLbl>
              <c:idx val="14"/>
              <c:tx>
                <c:rich>
                  <a:bodyPr/>
                  <a:lstStyle/>
                  <a:p>
                    <a:r>
                      <a:t>89</a:t>
                    </a:r>
                  </a:p>
                </c:rich>
              </c:tx>
              <c:dLblPos val="ctr"/>
              <c:showLegendKey val="0"/>
              <c:showVal val="1"/>
              <c:showCatName val="0"/>
              <c:showSerName val="0"/>
              <c:showPercent val="0"/>
              <c:showBubbleSize val="0"/>
            </c:dLbl>
            <c:dLbl>
              <c:idx val="15"/>
              <c:tx>
                <c:rich>
                  <a:bodyPr/>
                  <a:lstStyle/>
                  <a:p>
                    <a:r>
                      <a:t>75</a:t>
                    </a:r>
                  </a:p>
                </c:rich>
              </c:tx>
              <c:dLblPos val="ctr"/>
              <c:showLegendKey val="0"/>
              <c:showVal val="1"/>
              <c:showCatName val="0"/>
              <c:showSerName val="0"/>
              <c:showPercent val="0"/>
              <c:showBubbleSize val="0"/>
            </c:dLbl>
            <c:dLbl>
              <c:idx val="16"/>
              <c:tx>
                <c:rich>
                  <a:bodyPr/>
                  <a:lstStyle/>
                  <a:p>
                    <a:r>
                      <a:t>4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B$2:$B$18</c:f>
              <c:numCache>
                <c:formatCode>General</c:formatCode>
                <c:ptCount val="17"/>
                <c:pt idx="0">
                  <c:v>0.0</c:v>
                </c:pt>
                <c:pt idx="1">
                  <c:v>0.9226385576749312</c:v>
                </c:pt>
                <c:pt idx="2">
                  <c:v>0.8368244785094902</c:v>
                </c:pt>
                <c:pt idx="3">
                  <c:v>1.0164416217258445</c:v>
                </c:pt>
                <c:pt idx="4">
                  <c:v>1.0136095949439816</c:v>
                </c:pt>
                <c:pt idx="5">
                  <c:v>0.9248004745470233</c:v>
                </c:pt>
                <c:pt idx="6">
                  <c:v>0.9175397918446331</c:v>
                </c:pt>
                <c:pt idx="7">
                  <c:v>1.1034619581390734</c:v>
                </c:pt>
                <c:pt idx="8">
                  <c:v>0.9563064054589479</c:v>
                </c:pt>
                <c:pt idx="9">
                  <c:v>1.228751004896587</c:v>
                </c:pt>
                <c:pt idx="10">
                  <c:v>1.8105922254109053</c:v>
                </c:pt>
                <c:pt idx="11">
                  <c:v>1.5481698895027625</c:v>
                </c:pt>
                <c:pt idx="12">
                  <c:v>1.020460358056266</c:v>
                </c:pt>
                <c:pt idx="13">
                  <c:v>0.8611026808295397</c:v>
                </c:pt>
                <c:pt idx="14">
                  <c:v>0.887307094150018</c:v>
                </c:pt>
                <c:pt idx="15">
                  <c:v>0.7461814067508957</c:v>
                </c:pt>
                <c:pt idx="16">
                  <c:v>0.489517819706498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B$2:$B$18</c:f>
              <c:numCache>
                <c:formatCode>General</c:formatCode>
                <c:ptCount val="17"/>
                <c:pt idx="0">
                  <c:v>1.7e-05</c:v>
                </c:pt>
                <c:pt idx="1">
                  <c:v>1.041515</c:v>
                </c:pt>
                <c:pt idx="2">
                  <c:v>0.249367</c:v>
                </c:pt>
                <c:pt idx="3">
                  <c:v>0.173965</c:v>
                </c:pt>
                <c:pt idx="4">
                  <c:v>0.112908</c:v>
                </c:pt>
                <c:pt idx="5">
                  <c:v>0.068598</c:v>
                </c:pt>
                <c:pt idx="6">
                  <c:v>0.052631</c:v>
                </c:pt>
                <c:pt idx="7">
                  <c:v>0.044496</c:v>
                </c:pt>
                <c:pt idx="8">
                  <c:v>0.017378</c:v>
                </c:pt>
                <c:pt idx="9">
                  <c:v>0.016813</c:v>
                </c:pt>
                <c:pt idx="10">
                  <c:v>0.01388</c:v>
                </c:pt>
                <c:pt idx="11">
                  <c:v>0.008967</c:v>
                </c:pt>
                <c:pt idx="12">
                  <c:v>0.008778</c:v>
                </c:pt>
                <c:pt idx="13">
                  <c:v>0.008512</c:v>
                </c:pt>
                <c:pt idx="14">
                  <c:v>0.007417</c:v>
                </c:pt>
                <c:pt idx="15">
                  <c:v>0.003957</c:v>
                </c:pt>
                <c:pt idx="16">
                  <c:v>0.0018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50</a:t>
                    </a:r>
                  </a:p>
                </c:rich>
              </c:tx>
              <c:dLblPos val="t"/>
              <c:showLegendKey val="0"/>
              <c:showVal val="1"/>
              <c:showCatName val="0"/>
              <c:showSerName val="0"/>
              <c:showPercent val="0"/>
              <c:showBubbleSize val="0"/>
            </c:dLbl>
            <c:dLbl>
              <c:idx val="1"/>
              <c:tx>
                <c:rich>
                  <a:bodyPr/>
                  <a:lstStyle/>
                  <a:p>
                    <a:r>
                      <a:t>50.00</a:t>
                    </a:r>
                  </a:p>
                </c:rich>
              </c:tx>
              <c:dLblPos val="t"/>
              <c:showLegendKey val="0"/>
              <c:showVal val="1"/>
              <c:showCatName val="0"/>
              <c:showSerName val="0"/>
              <c:showPercent val="0"/>
              <c:showBubbleSize val="0"/>
            </c:dLbl>
            <c:dLbl>
              <c:idx val="2"/>
              <c:tx>
                <c:rich>
                  <a:bodyPr/>
                  <a:lstStyle/>
                  <a:p>
                    <a:r>
                      <a:t>64.12</a:t>
                    </a:r>
                  </a:p>
                </c:rich>
              </c:tx>
              <c:dLblPos val="t"/>
              <c:showLegendKey val="0"/>
              <c:showVal val="1"/>
              <c:showCatName val="0"/>
              <c:showSerName val="0"/>
              <c:showPercent val="0"/>
              <c:showBubbleSize val="0"/>
            </c:dLbl>
            <c:dLbl>
              <c:idx val="3"/>
              <c:tx>
                <c:rich>
                  <a:bodyPr/>
                  <a:lstStyle/>
                  <a:p>
                    <a:r>
                      <a:t>16.24</a:t>
                    </a:r>
                  </a:p>
                </c:rich>
              </c:tx>
              <c:dLblPos val="t"/>
              <c:showLegendKey val="0"/>
              <c:showVal val="1"/>
              <c:showCatName val="0"/>
              <c:showSerName val="0"/>
              <c:showPercent val="0"/>
              <c:showBubbleSize val="0"/>
            </c:dLbl>
            <c:dLbl>
              <c:idx val="4"/>
              <c:tx>
                <c:rich>
                  <a:bodyPr/>
                  <a:lstStyle/>
                  <a:p>
                    <a:r>
                      <a:t>64.33</a:t>
                    </a:r>
                  </a:p>
                </c:rich>
              </c:tx>
              <c:dLblPos val="t"/>
              <c:showLegendKey val="0"/>
              <c:showVal val="1"/>
              <c:showCatName val="0"/>
              <c:showSerName val="0"/>
              <c:showPercent val="0"/>
              <c:showBubbleSize val="0"/>
            </c:dLbl>
            <c:dLbl>
              <c:idx val="5"/>
              <c:tx>
                <c:rich>
                  <a:bodyPr/>
                  <a:lstStyle/>
                  <a:p>
                    <a:r>
                      <a:t>144.42</a:t>
                    </a:r>
                  </a:p>
                </c:rich>
              </c:tx>
              <c:dLblPos val="t"/>
              <c:showLegendKey val="0"/>
              <c:showVal val="1"/>
              <c:showCatName val="0"/>
              <c:showSerName val="0"/>
              <c:showPercent val="0"/>
              <c:showBubbleSize val="0"/>
            </c:dLbl>
            <c:dLbl>
              <c:idx val="6"/>
              <c:tx>
                <c:rich>
                  <a:bodyPr/>
                  <a:lstStyle/>
                  <a:p>
                    <a:r>
                      <a:t>39.54</a:t>
                    </a:r>
                  </a:p>
                </c:rich>
              </c:tx>
              <c:dLblPos val="t"/>
              <c:showLegendKey val="0"/>
              <c:showVal val="1"/>
              <c:showCatName val="0"/>
              <c:showSerName val="0"/>
              <c:showPercent val="0"/>
              <c:showBubbleSize val="0"/>
            </c:dLbl>
            <c:dLbl>
              <c:idx val="7"/>
              <c:tx>
                <c:rich>
                  <a:bodyPr/>
                  <a:lstStyle/>
                  <a:p>
                    <a:r>
                      <a:t>43.75</a:t>
                    </a:r>
                  </a:p>
                </c:rich>
              </c:tx>
              <c:dLblPos val="t"/>
              <c:showLegendKey val="0"/>
              <c:showVal val="1"/>
              <c:showCatName val="0"/>
              <c:showSerName val="0"/>
              <c:showPercent val="0"/>
              <c:showBubbleSize val="0"/>
            </c:dLbl>
            <c:dLbl>
              <c:idx val="8"/>
              <c:tx>
                <c:rich>
                  <a:bodyPr/>
                  <a:lstStyle/>
                  <a:p>
                    <a:r>
                      <a:t>11.21</a:t>
                    </a:r>
                  </a:p>
                </c:rich>
              </c:tx>
              <c:dLblPos val="t"/>
              <c:showLegendKey val="0"/>
              <c:showVal val="1"/>
              <c:showCatName val="0"/>
              <c:showSerName val="0"/>
              <c:showPercent val="0"/>
              <c:showBubbleSize val="0"/>
            </c:dLbl>
            <c:dLbl>
              <c:idx val="9"/>
              <c:tx>
                <c:rich>
                  <a:bodyPr/>
                  <a:lstStyle/>
                  <a:p>
                    <a:r>
                      <a:t>48.88</a:t>
                    </a:r>
                  </a:p>
                </c:rich>
              </c:tx>
              <c:dLblPos val="t"/>
              <c:showLegendKey val="0"/>
              <c:showVal val="1"/>
              <c:showCatName val="0"/>
              <c:showSerName val="0"/>
              <c:showPercent val="0"/>
              <c:showBubbleSize val="0"/>
            </c:dLbl>
            <c:dLbl>
              <c:idx val="10"/>
              <c:tx>
                <c:rich>
                  <a:bodyPr/>
                  <a:lstStyle/>
                  <a:p>
                    <a:r>
                      <a:t>22.94</a:t>
                    </a:r>
                  </a:p>
                </c:rich>
              </c:tx>
              <c:dLblPos val="t"/>
              <c:showLegendKey val="0"/>
              <c:showVal val="1"/>
              <c:showCatName val="0"/>
              <c:showSerName val="0"/>
              <c:showPercent val="0"/>
              <c:showBubbleSize val="0"/>
            </c:dLbl>
            <c:dLbl>
              <c:idx val="11"/>
              <c:tx>
                <c:rich>
                  <a:bodyPr/>
                  <a:lstStyle/>
                  <a:p>
                    <a:r>
                      <a:t>54.02</a:t>
                    </a:r>
                  </a:p>
                </c:rich>
              </c:tx>
              <c:dLblPos val="t"/>
              <c:showLegendKey val="0"/>
              <c:showVal val="1"/>
              <c:showCatName val="0"/>
              <c:showSerName val="0"/>
              <c:showPercent val="0"/>
              <c:showBubbleSize val="0"/>
            </c:dLbl>
            <c:dLbl>
              <c:idx val="12"/>
              <c:tx>
                <c:rich>
                  <a:bodyPr/>
                  <a:lstStyle/>
                  <a:p>
                    <a:r>
                      <a:t>48.50</a:t>
                    </a:r>
                  </a:p>
                </c:rich>
              </c:tx>
              <c:dLblPos val="t"/>
              <c:showLegendKey val="0"/>
              <c:showVal val="1"/>
              <c:showCatName val="0"/>
              <c:showSerName val="0"/>
              <c:showPercent val="0"/>
              <c:showBubbleSize val="0"/>
            </c:dLbl>
            <c:dLbl>
              <c:idx val="13"/>
              <c:tx>
                <c:rich>
                  <a:bodyPr/>
                  <a:lstStyle/>
                  <a:p>
                    <a:r>
                      <a:t>12.65</a:t>
                    </a:r>
                  </a:p>
                </c:rich>
              </c:tx>
              <c:dLblPos val="t"/>
              <c:showLegendKey val="0"/>
              <c:showVal val="1"/>
              <c:showCatName val="0"/>
              <c:showSerName val="0"/>
              <c:showPercent val="0"/>
              <c:showBubbleSize val="0"/>
            </c:dLbl>
            <c:dLbl>
              <c:idx val="14"/>
              <c:tx>
                <c:rich>
                  <a:bodyPr/>
                  <a:lstStyle/>
                  <a:p>
                    <a:r>
                      <a:t>15.20</a:t>
                    </a:r>
                  </a:p>
                </c:rich>
              </c:tx>
              <c:dLblPos val="t"/>
              <c:showLegendKey val="0"/>
              <c:showVal val="1"/>
              <c:showCatName val="0"/>
              <c:showSerName val="0"/>
              <c:showPercent val="0"/>
              <c:showBubbleSize val="0"/>
            </c:dLbl>
            <c:dLbl>
              <c:idx val="15"/>
              <c:tx>
                <c:rich>
                  <a:bodyPr/>
                  <a:lstStyle/>
                  <a:p>
                    <a:r>
                      <a:t>16.84</a:t>
                    </a:r>
                  </a:p>
                </c:rich>
              </c:tx>
              <c:dLblPos val="t"/>
              <c:showLegendKey val="0"/>
              <c:showVal val="1"/>
              <c:showCatName val="0"/>
              <c:showSerName val="0"/>
              <c:showPercent val="0"/>
              <c:showBubbleSize val="0"/>
            </c:dLbl>
            <c:dLbl>
              <c:idx val="16"/>
              <c:tx>
                <c:rich>
                  <a:bodyPr/>
                  <a:lstStyle/>
                  <a:p>
                    <a:r>
                      <a:t>12.9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C$2:$C$18</c:f>
              <c:numCache>
                <c:formatCode>General</c:formatCode>
                <c:ptCount val="17"/>
                <c:pt idx="0">
                  <c:v>8.5</c:v>
                </c:pt>
                <c:pt idx="1">
                  <c:v>49.9983</c:v>
                </c:pt>
                <c:pt idx="2">
                  <c:v>64.1211</c:v>
                </c:pt>
                <c:pt idx="3">
                  <c:v>16.2417</c:v>
                </c:pt>
                <c:pt idx="4">
                  <c:v>64.335</c:v>
                </c:pt>
                <c:pt idx="5">
                  <c:v>144.4168</c:v>
                </c:pt>
                <c:pt idx="6">
                  <c:v>39.5424</c:v>
                </c:pt>
                <c:pt idx="7">
                  <c:v>43.7522</c:v>
                </c:pt>
                <c:pt idx="8">
                  <c:v>11.2116</c:v>
                </c:pt>
                <c:pt idx="9">
                  <c:v>48.875</c:v>
                </c:pt>
                <c:pt idx="10">
                  <c:v>22.9421</c:v>
                </c:pt>
                <c:pt idx="11">
                  <c:v>54.0181</c:v>
                </c:pt>
                <c:pt idx="12">
                  <c:v>48.4972</c:v>
                </c:pt>
                <c:pt idx="13">
                  <c:v>12.6478</c:v>
                </c:pt>
                <c:pt idx="14">
                  <c:v>15.1988</c:v>
                </c:pt>
                <c:pt idx="15">
                  <c:v>16.8383</c:v>
                </c:pt>
                <c:pt idx="16">
                  <c:v>12.972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1</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110</a:t>
                    </a:r>
                  </a:p>
                </c:rich>
              </c:tx>
              <c:dLblPos val="ctr"/>
              <c:showLegendKey val="0"/>
              <c:showVal val="1"/>
              <c:showCatName val="0"/>
              <c:showSerName val="0"/>
              <c:showPercent val="0"/>
              <c:showBubbleSize val="0"/>
            </c:dLbl>
            <c:dLbl>
              <c:idx val="8"/>
              <c:tx>
                <c:rich>
                  <a:bodyPr/>
                  <a:lstStyle/>
                  <a:p>
                    <a:r>
                      <a:t>96</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81</a:t>
                    </a:r>
                  </a:p>
                </c:rich>
              </c:tx>
              <c:dLblPos val="ctr"/>
              <c:showLegendKey val="0"/>
              <c:showVal val="1"/>
              <c:showCatName val="0"/>
              <c:showSerName val="0"/>
              <c:showPercent val="0"/>
              <c:showBubbleSize val="0"/>
            </c:dLbl>
            <c:dLbl>
              <c:idx val="11"/>
              <c:tx>
                <c:rich>
                  <a:bodyPr/>
                  <a:lstStyle/>
                  <a:p>
                    <a:r>
                      <a:t>155</a:t>
                    </a:r>
                  </a:p>
                </c:rich>
              </c:tx>
              <c:dLblPos val="ctr"/>
              <c:showLegendKey val="0"/>
              <c:showVal val="1"/>
              <c:showCatName val="0"/>
              <c:showSerName val="0"/>
              <c:showPercent val="0"/>
              <c:showBubbleSize val="0"/>
            </c:dLbl>
            <c:dLbl>
              <c:idx val="12"/>
              <c:tx>
                <c:rich>
                  <a:bodyPr/>
                  <a:lstStyle/>
                  <a:p>
                    <a:r>
                      <a:t>102</a:t>
                    </a:r>
                  </a:p>
                </c:rich>
              </c:tx>
              <c:dLblPos val="ctr"/>
              <c:showLegendKey val="0"/>
              <c:showVal val="1"/>
              <c:showCatName val="0"/>
              <c:showSerName val="0"/>
              <c:showPercent val="0"/>
              <c:showBubbleSize val="0"/>
            </c:dLbl>
            <c:dLbl>
              <c:idx val="13"/>
              <c:tx>
                <c:rich>
                  <a:bodyPr/>
                  <a:lstStyle/>
                  <a:p>
                    <a:r>
                      <a:t>86</a:t>
                    </a:r>
                  </a:p>
                </c:rich>
              </c:tx>
              <c:dLblPos val="ctr"/>
              <c:showLegendKey val="0"/>
              <c:showVal val="1"/>
              <c:showCatName val="0"/>
              <c:showSerName val="0"/>
              <c:showPercent val="0"/>
              <c:showBubbleSize val="0"/>
            </c:dLbl>
            <c:dLbl>
              <c:idx val="14"/>
              <c:tx>
                <c:rich>
                  <a:bodyPr/>
                  <a:lstStyle/>
                  <a:p>
                    <a:r>
                      <a:t>89</a:t>
                    </a:r>
                  </a:p>
                </c:rich>
              </c:tx>
              <c:dLblPos val="ctr"/>
              <c:showLegendKey val="0"/>
              <c:showVal val="1"/>
              <c:showCatName val="0"/>
              <c:showSerName val="0"/>
              <c:showPercent val="0"/>
              <c:showBubbleSize val="0"/>
            </c:dLbl>
            <c:dLbl>
              <c:idx val="15"/>
              <c:tx>
                <c:rich>
                  <a:bodyPr/>
                  <a:lstStyle/>
                  <a:p>
                    <a:r>
                      <a:t>75</a:t>
                    </a:r>
                  </a:p>
                </c:rich>
              </c:tx>
              <c:dLblPos val="ctr"/>
              <c:showLegendKey val="0"/>
              <c:showVal val="1"/>
              <c:showCatName val="0"/>
              <c:showSerName val="0"/>
              <c:showPercent val="0"/>
              <c:showBubbleSize val="0"/>
            </c:dLbl>
            <c:dLbl>
              <c:idx val="16"/>
              <c:tx>
                <c:rich>
                  <a:bodyPr/>
                  <a:lstStyle/>
                  <a:p>
                    <a:r>
                      <a:t>4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strCache>
            </c:strRef>
          </c:cat>
          <c:val>
            <c:numRef>
              <c:f>Sheet1!$B$2:$B$18</c:f>
              <c:numCache>
                <c:formatCode>General</c:formatCode>
                <c:ptCount val="17"/>
                <c:pt idx="0">
                  <c:v>0.0</c:v>
                </c:pt>
                <c:pt idx="1">
                  <c:v>0.9226385576749312</c:v>
                </c:pt>
                <c:pt idx="2">
                  <c:v>0.8368244785094902</c:v>
                </c:pt>
                <c:pt idx="3">
                  <c:v>1.0164416217258445</c:v>
                </c:pt>
                <c:pt idx="4">
                  <c:v>1.0136095949439816</c:v>
                </c:pt>
                <c:pt idx="5">
                  <c:v>0.9248004745470233</c:v>
                </c:pt>
                <c:pt idx="6">
                  <c:v>0.9175397918446331</c:v>
                </c:pt>
                <c:pt idx="7">
                  <c:v>1.1034619581390734</c:v>
                </c:pt>
                <c:pt idx="8">
                  <c:v>0.9563064054589479</c:v>
                </c:pt>
                <c:pt idx="9">
                  <c:v>1.228751004896587</c:v>
                </c:pt>
                <c:pt idx="10">
                  <c:v>1.8105922254109053</c:v>
                </c:pt>
                <c:pt idx="11">
                  <c:v>1.5481698895027625</c:v>
                </c:pt>
                <c:pt idx="12">
                  <c:v>1.020460358056266</c:v>
                </c:pt>
                <c:pt idx="13">
                  <c:v>0.8611026808295397</c:v>
                </c:pt>
                <c:pt idx="14">
                  <c:v>0.887307094150018</c:v>
                </c:pt>
                <c:pt idx="15">
                  <c:v>0.7461814067508957</c:v>
                </c:pt>
                <c:pt idx="16">
                  <c:v>0.489517819706498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4</c:v>
                </c:pt>
                <c:pt idx="1">
                  <c:v>0.000703</c:v>
                </c:pt>
                <c:pt idx="2">
                  <c:v>0.0002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07</c:v>
                </c:pt>
                <c:pt idx="1">
                  <c:v>0.000351</c:v>
                </c:pt>
                <c:pt idx="2">
                  <c:v>0.0001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6e-05</c:v>
                </c:pt>
                <c:pt idx="1">
                  <c:v>4.1e-05</c:v>
                </c:pt>
                <c:pt idx="2">
                  <c:v>5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8.9e-05</c:v>
                </c:pt>
                <c:pt idx="1">
                  <c:v>4.5e-05</c:v>
                </c:pt>
                <c:pt idx="2">
                  <c:v>1.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1e-05</c:v>
                </c:pt>
                <c:pt idx="1">
                  <c:v>0.721228</c:v>
                </c:pt>
                <c:pt idx="2">
                  <c:v>0.127711</c:v>
                </c:pt>
                <c:pt idx="3">
                  <c:v>0.056597</c:v>
                </c:pt>
                <c:pt idx="4">
                  <c:v>0.050156</c:v>
                </c:pt>
                <c:pt idx="5">
                  <c:v>0.048093</c:v>
                </c:pt>
                <c:pt idx="6">
                  <c:v>0.036157</c:v>
                </c:pt>
                <c:pt idx="7">
                  <c:v>0.031169</c:v>
                </c:pt>
                <c:pt idx="8">
                  <c:v>0.027757</c:v>
                </c:pt>
                <c:pt idx="9">
                  <c:v>0.013532</c:v>
                </c:pt>
                <c:pt idx="10">
                  <c:v>0.010756</c:v>
                </c:pt>
                <c:pt idx="11">
                  <c:v>0.010654</c:v>
                </c:pt>
                <c:pt idx="12">
                  <c:v>0.008525</c:v>
                </c:pt>
                <c:pt idx="13">
                  <c:v>0.00547</c:v>
                </c:pt>
                <c:pt idx="14">
                  <c:v>0.003781</c:v>
                </c:pt>
                <c:pt idx="15">
                  <c:v>0.002971</c:v>
                </c:pt>
                <c:pt idx="16">
                  <c:v>0.0013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0</a:t>
                    </a:r>
                  </a:p>
                </c:rich>
              </c:tx>
              <c:dLblPos val="t"/>
              <c:showLegendKey val="0"/>
              <c:showVal val="1"/>
              <c:showCatName val="0"/>
              <c:showSerName val="0"/>
              <c:showPercent val="0"/>
              <c:showBubbleSize val="0"/>
            </c:dLbl>
            <c:dLbl>
              <c:idx val="1"/>
              <c:tx>
                <c:rich>
                  <a:bodyPr/>
                  <a:lstStyle/>
                  <a:p>
                    <a:r>
                      <a:t>50.32</a:t>
                    </a:r>
                  </a:p>
                </c:rich>
              </c:tx>
              <c:dLblPos val="t"/>
              <c:showLegendKey val="0"/>
              <c:showVal val="1"/>
              <c:showCatName val="0"/>
              <c:showSerName val="0"/>
              <c:showPercent val="0"/>
              <c:showBubbleSize val="0"/>
            </c:dLbl>
            <c:dLbl>
              <c:idx val="2"/>
              <c:tx>
                <c:rich>
                  <a:bodyPr/>
                  <a:lstStyle/>
                  <a:p>
                    <a:r>
                      <a:t>91.42</a:t>
                    </a:r>
                  </a:p>
                </c:rich>
              </c:tx>
              <c:dLblPos val="t"/>
              <c:showLegendKey val="0"/>
              <c:showVal val="1"/>
              <c:showCatName val="0"/>
              <c:showSerName val="0"/>
              <c:showPercent val="0"/>
              <c:showBubbleSize val="0"/>
            </c:dLbl>
            <c:dLbl>
              <c:idx val="3"/>
              <c:tx>
                <c:rich>
                  <a:bodyPr/>
                  <a:lstStyle/>
                  <a:p>
                    <a:r>
                      <a:t>70.48</a:t>
                    </a:r>
                  </a:p>
                </c:rich>
              </c:tx>
              <c:dLblPos val="t"/>
              <c:showLegendKey val="0"/>
              <c:showVal val="1"/>
              <c:showCatName val="0"/>
              <c:showSerName val="0"/>
              <c:showPercent val="0"/>
              <c:showBubbleSize val="0"/>
            </c:dLbl>
            <c:dLbl>
              <c:idx val="4"/>
              <c:tx>
                <c:rich>
                  <a:bodyPr/>
                  <a:lstStyle/>
                  <a:p>
                    <a:r>
                      <a:t>42.98</a:t>
                    </a:r>
                  </a:p>
                </c:rich>
              </c:tx>
              <c:dLblPos val="t"/>
              <c:showLegendKey val="0"/>
              <c:showVal val="1"/>
              <c:showCatName val="0"/>
              <c:showSerName val="0"/>
              <c:showPercent val="0"/>
              <c:showBubbleSize val="0"/>
            </c:dLbl>
            <c:dLbl>
              <c:idx val="5"/>
              <c:tx>
                <c:rich>
                  <a:bodyPr/>
                  <a:lstStyle/>
                  <a:p>
                    <a:r>
                      <a:t>39.94</a:t>
                    </a:r>
                  </a:p>
                </c:rich>
              </c:tx>
              <c:dLblPos val="t"/>
              <c:showLegendKey val="0"/>
              <c:showVal val="1"/>
              <c:showCatName val="0"/>
              <c:showSerName val="0"/>
              <c:showPercent val="0"/>
              <c:showBubbleSize val="0"/>
            </c:dLbl>
            <c:dLbl>
              <c:idx val="6"/>
              <c:tx>
                <c:rich>
                  <a:bodyPr/>
                  <a:lstStyle/>
                  <a:p>
                    <a:r>
                      <a:t>157.20</a:t>
                    </a:r>
                  </a:p>
                </c:rich>
              </c:tx>
              <c:dLblPos val="t"/>
              <c:showLegendKey val="0"/>
              <c:showVal val="1"/>
              <c:showCatName val="0"/>
              <c:showSerName val="0"/>
              <c:showPercent val="0"/>
              <c:showBubbleSize val="0"/>
            </c:dLbl>
            <c:dLbl>
              <c:idx val="7"/>
              <c:tx>
                <c:rich>
                  <a:bodyPr/>
                  <a:lstStyle/>
                  <a:p>
                    <a:r>
                      <a:t>15.09</a:t>
                    </a:r>
                  </a:p>
                </c:rich>
              </c:tx>
              <c:dLblPos val="t"/>
              <c:showLegendKey val="0"/>
              <c:showVal val="1"/>
              <c:showCatName val="0"/>
              <c:showSerName val="0"/>
              <c:showPercent val="0"/>
              <c:showBubbleSize val="0"/>
            </c:dLbl>
            <c:dLbl>
              <c:idx val="8"/>
              <c:tx>
                <c:rich>
                  <a:bodyPr/>
                  <a:lstStyle/>
                  <a:p>
                    <a:r>
                      <a:t>11.59</a:t>
                    </a:r>
                  </a:p>
                </c:rich>
              </c:tx>
              <c:dLblPos val="t"/>
              <c:showLegendKey val="0"/>
              <c:showVal val="1"/>
              <c:showCatName val="0"/>
              <c:showSerName val="0"/>
              <c:showPercent val="0"/>
              <c:showBubbleSize val="0"/>
            </c:dLbl>
            <c:dLbl>
              <c:idx val="9"/>
              <c:tx>
                <c:rich>
                  <a:bodyPr/>
                  <a:lstStyle/>
                  <a:p>
                    <a:r>
                      <a:t>16.66</a:t>
                    </a:r>
                  </a:p>
                </c:rich>
              </c:tx>
              <c:dLblPos val="t"/>
              <c:showLegendKey val="0"/>
              <c:showVal val="1"/>
              <c:showCatName val="0"/>
              <c:showSerName val="0"/>
              <c:showPercent val="0"/>
              <c:showBubbleSize val="0"/>
            </c:dLbl>
            <c:dLbl>
              <c:idx val="10"/>
              <c:tx>
                <c:rich>
                  <a:bodyPr/>
                  <a:lstStyle/>
                  <a:p>
                    <a:r>
                      <a:t>10.66</a:t>
                    </a:r>
                  </a:p>
                </c:rich>
              </c:tx>
              <c:dLblPos val="t"/>
              <c:showLegendKey val="0"/>
              <c:showVal val="1"/>
              <c:showCatName val="0"/>
              <c:showSerName val="0"/>
              <c:showPercent val="0"/>
              <c:showBubbleSize val="0"/>
            </c:dLbl>
            <c:dLbl>
              <c:idx val="11"/>
              <c:tx>
                <c:rich>
                  <a:bodyPr/>
                  <a:lstStyle/>
                  <a:p>
                    <a:r>
                      <a:t>21.74</a:t>
                    </a:r>
                  </a:p>
                </c:rich>
              </c:tx>
              <c:dLblPos val="t"/>
              <c:showLegendKey val="0"/>
              <c:showVal val="1"/>
              <c:showCatName val="0"/>
              <c:showSerName val="0"/>
              <c:showPercent val="0"/>
              <c:showBubbleSize val="0"/>
            </c:dLbl>
            <c:dLbl>
              <c:idx val="12"/>
              <c:tx>
                <c:rich>
                  <a:bodyPr/>
                  <a:lstStyle/>
                  <a:p>
                    <a:r>
                      <a:t>23.68</a:t>
                    </a:r>
                  </a:p>
                </c:rich>
              </c:tx>
              <c:dLblPos val="t"/>
              <c:showLegendKey val="0"/>
              <c:showVal val="1"/>
              <c:showCatName val="0"/>
              <c:showSerName val="0"/>
              <c:showPercent val="0"/>
              <c:showBubbleSize val="0"/>
            </c:dLbl>
            <c:dLbl>
              <c:idx val="13"/>
              <c:tx>
                <c:rich>
                  <a:bodyPr/>
                  <a:lstStyle/>
                  <a:p>
                    <a:r>
                      <a:t>45.97</a:t>
                    </a:r>
                  </a:p>
                </c:rich>
              </c:tx>
              <c:dLblPos val="t"/>
              <c:showLegendKey val="0"/>
              <c:showVal val="1"/>
              <c:showCatName val="0"/>
              <c:showSerName val="0"/>
              <c:showPercent val="0"/>
              <c:showBubbleSize val="0"/>
            </c:dLbl>
            <c:dLbl>
              <c:idx val="14"/>
              <c:tx>
                <c:rich>
                  <a:bodyPr/>
                  <a:lstStyle/>
                  <a:p>
                    <a:r>
                      <a:t>59.08</a:t>
                    </a:r>
                  </a:p>
                </c:rich>
              </c:tx>
              <c:dLblPos val="t"/>
              <c:showLegendKey val="0"/>
              <c:showVal val="1"/>
              <c:showCatName val="0"/>
              <c:showSerName val="0"/>
              <c:showPercent val="0"/>
              <c:showBubbleSize val="0"/>
            </c:dLbl>
            <c:dLbl>
              <c:idx val="15"/>
              <c:tx>
                <c:rich>
                  <a:bodyPr/>
                  <a:lstStyle/>
                  <a:p>
                    <a:r>
                      <a:t>56.06</a:t>
                    </a:r>
                  </a:p>
                </c:rich>
              </c:tx>
              <c:dLblPos val="t"/>
              <c:showLegendKey val="0"/>
              <c:showVal val="1"/>
              <c:showCatName val="0"/>
              <c:showSerName val="0"/>
              <c:showPercent val="0"/>
              <c:showBubbleSize val="0"/>
            </c:dLbl>
            <c:dLbl>
              <c:idx val="16"/>
              <c:tx>
                <c:rich>
                  <a:bodyPr/>
                  <a:lstStyle/>
                  <a:p>
                    <a:r>
                      <a:t>13.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strCache>
            </c:strRef>
          </c:cat>
          <c:val>
            <c:numRef>
              <c:f>Sheet1!$C$2:$C$18</c:f>
              <c:numCache>
                <c:formatCode>General</c:formatCode>
                <c:ptCount val="17"/>
                <c:pt idx="0">
                  <c:v>10.0</c:v>
                </c:pt>
                <c:pt idx="1">
                  <c:v>50.3194</c:v>
                </c:pt>
                <c:pt idx="2">
                  <c:v>91.418</c:v>
                </c:pt>
                <c:pt idx="3">
                  <c:v>70.4819</c:v>
                </c:pt>
                <c:pt idx="4">
                  <c:v>42.9786</c:v>
                </c:pt>
                <c:pt idx="5">
                  <c:v>39.9444</c:v>
                </c:pt>
                <c:pt idx="6">
                  <c:v>157.2043</c:v>
                </c:pt>
                <c:pt idx="7">
                  <c:v>15.0866</c:v>
                </c:pt>
                <c:pt idx="8">
                  <c:v>11.5944</c:v>
                </c:pt>
                <c:pt idx="9">
                  <c:v>16.665</c:v>
                </c:pt>
                <c:pt idx="10">
                  <c:v>10.6601</c:v>
                </c:pt>
                <c:pt idx="11">
                  <c:v>21.7429</c:v>
                </c:pt>
                <c:pt idx="12">
                  <c:v>23.6806</c:v>
                </c:pt>
                <c:pt idx="13">
                  <c:v>45.9664</c:v>
                </c:pt>
                <c:pt idx="14">
                  <c:v>59.0781</c:v>
                </c:pt>
                <c:pt idx="15">
                  <c:v>56.0566</c:v>
                </c:pt>
                <c:pt idx="16">
                  <c:v>13.33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43</a:t>
                    </a:r>
                  </a:p>
                </c:rich>
              </c:tx>
              <c:dLblPos val="ctr"/>
              <c:showLegendKey val="0"/>
              <c:showVal val="1"/>
              <c:showCatName val="0"/>
              <c:showSerName val="0"/>
              <c:showPercent val="0"/>
              <c:showBubbleSize val="0"/>
            </c:dLbl>
            <c:dLbl>
              <c:idx val="1"/>
              <c:tx>
                <c:rich>
                  <a:bodyPr/>
                  <a:lstStyle/>
                  <a:p>
                    <a:r>
                      <a:t>89</a:t>
                    </a:r>
                  </a:p>
                </c:rich>
              </c:tx>
              <c:dLblPos val="ctr"/>
              <c:showLegendKey val="0"/>
              <c:showVal val="1"/>
              <c:showCatName val="0"/>
              <c:showSerName val="0"/>
              <c:showPercent val="0"/>
              <c:showBubbleSize val="0"/>
            </c:dLbl>
            <c:dLbl>
              <c:idx val="2"/>
              <c:tx>
                <c:rich>
                  <a:bodyPr/>
                  <a:lstStyle/>
                  <a:p>
                    <a:r>
                      <a:t>77</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116</a:t>
                    </a:r>
                  </a:p>
                </c:rich>
              </c:tx>
              <c:dLblPos val="ctr"/>
              <c:showLegendKey val="0"/>
              <c:showVal val="1"/>
              <c:showCatName val="0"/>
              <c:showSerName val="0"/>
              <c:showPercent val="0"/>
              <c:showBubbleSize val="0"/>
            </c:dLbl>
            <c:dLbl>
              <c:idx val="5"/>
              <c:tx>
                <c:rich>
                  <a:bodyPr/>
                  <a:lstStyle/>
                  <a:p>
                    <a:r>
                      <a:t>79</a:t>
                    </a:r>
                  </a:p>
                </c:rich>
              </c:tx>
              <c:dLblPos val="ctr"/>
              <c:showLegendKey val="0"/>
              <c:showVal val="1"/>
              <c:showCatName val="0"/>
              <c:showSerName val="0"/>
              <c:showPercent val="0"/>
              <c:showBubbleSize val="0"/>
            </c:dLbl>
            <c:dLbl>
              <c:idx val="6"/>
              <c:tx>
                <c:rich>
                  <a:bodyPr/>
                  <a:lstStyle/>
                  <a:p>
                    <a:r>
                      <a:t>95</a:t>
                    </a:r>
                  </a:p>
                </c:rich>
              </c:tx>
              <c:dLblPos val="ctr"/>
              <c:showLegendKey val="0"/>
              <c:showVal val="1"/>
              <c:showCatName val="0"/>
              <c:showSerName val="0"/>
              <c:showPercent val="0"/>
              <c:showBubbleSize val="0"/>
            </c:dLbl>
            <c:dLbl>
              <c:idx val="7"/>
              <c:tx>
                <c:rich>
                  <a:bodyPr/>
                  <a:lstStyle/>
                  <a:p>
                    <a:r>
                      <a:t>114</a:t>
                    </a:r>
                  </a:p>
                </c:rich>
              </c:tx>
              <c:dLblPos val="ctr"/>
              <c:showLegendKey val="0"/>
              <c:showVal val="1"/>
              <c:showCatName val="0"/>
              <c:showSerName val="0"/>
              <c:showPercent val="0"/>
              <c:showBubbleSize val="0"/>
            </c:dLbl>
            <c:dLbl>
              <c:idx val="8"/>
              <c:tx>
                <c:rich>
                  <a:bodyPr/>
                  <a:lstStyle/>
                  <a:p>
                    <a:r>
                      <a:t>90</a:t>
                    </a:r>
                  </a:p>
                </c:rich>
              </c:tx>
              <c:dLblPos val="ctr"/>
              <c:showLegendKey val="0"/>
              <c:showVal val="1"/>
              <c:showCatName val="0"/>
              <c:showSerName val="0"/>
              <c:showPercent val="0"/>
              <c:showBubbleSize val="0"/>
            </c:dLbl>
            <c:dLbl>
              <c:idx val="9"/>
              <c:tx>
                <c:rich>
                  <a:bodyPr/>
                  <a:lstStyle/>
                  <a:p>
                    <a:r>
                      <a:t>90</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66</a:t>
                    </a:r>
                  </a:p>
                </c:rich>
              </c:tx>
              <c:dLblPos val="ctr"/>
              <c:showLegendKey val="0"/>
              <c:showVal val="1"/>
              <c:showCatName val="0"/>
              <c:showSerName val="0"/>
              <c:showPercent val="0"/>
              <c:showBubbleSize val="0"/>
            </c:dLbl>
            <c:dLbl>
              <c:idx val="12"/>
              <c:tx>
                <c:rich>
                  <a:bodyPr/>
                  <a:lstStyle/>
                  <a:p>
                    <a:r>
                      <a:t>117</a:t>
                    </a:r>
                  </a:p>
                </c:rich>
              </c:tx>
              <c:dLblPos val="ctr"/>
              <c:showLegendKey val="0"/>
              <c:showVal val="1"/>
              <c:showCatName val="0"/>
              <c:showSerName val="0"/>
              <c:showPercent val="0"/>
              <c:showBubbleSize val="0"/>
            </c:dLbl>
            <c:dLbl>
              <c:idx val="13"/>
              <c:tx>
                <c:rich>
                  <a:bodyPr/>
                  <a:lstStyle/>
                  <a:p>
                    <a:r>
                      <a:t>202</a:t>
                    </a:r>
                  </a:p>
                </c:rich>
              </c:tx>
              <c:dLblPos val="ctr"/>
              <c:showLegendKey val="0"/>
              <c:showVal val="1"/>
              <c:showCatName val="0"/>
              <c:showSerName val="0"/>
              <c:showPercent val="0"/>
              <c:showBubbleSize val="0"/>
            </c:dLbl>
            <c:dLbl>
              <c:idx val="14"/>
              <c:tx>
                <c:rich>
                  <a:bodyPr/>
                  <a:lstStyle/>
                  <a:p>
                    <a:r>
                      <a:t>102</a:t>
                    </a:r>
                  </a:p>
                </c:rich>
              </c:tx>
              <c:dLblPos val="ctr"/>
              <c:showLegendKey val="0"/>
              <c:showVal val="1"/>
              <c:showCatName val="0"/>
              <c:showSerName val="0"/>
              <c:showPercent val="0"/>
              <c:showBubbleSize val="0"/>
            </c:dLbl>
            <c:dLbl>
              <c:idx val="15"/>
              <c:tx>
                <c:rich>
                  <a:bodyPr/>
                  <a:lstStyle/>
                  <a:p>
                    <a:r>
                      <a:t>73</a:t>
                    </a:r>
                  </a:p>
                </c:rich>
              </c:tx>
              <c:dLblPos val="ctr"/>
              <c:showLegendKey val="0"/>
              <c:showVal val="1"/>
              <c:showCatName val="0"/>
              <c:showSerName val="0"/>
              <c:showPercent val="0"/>
              <c:showBubbleSize val="0"/>
            </c:dLbl>
            <c:dLbl>
              <c:idx val="16"/>
              <c:tx>
                <c:rich>
                  <a:bodyPr/>
                  <a:lstStyle/>
                  <a:p>
                    <a:r>
                      <a:t>2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strCache>
            </c:strRef>
          </c:cat>
          <c:val>
            <c:numRef>
              <c:f>Sheet1!$B$2:$B$18</c:f>
              <c:numCache>
                <c:formatCode>General</c:formatCode>
                <c:ptCount val="17"/>
                <c:pt idx="0">
                  <c:v>1.4285714285714286</c:v>
                </c:pt>
                <c:pt idx="1">
                  <c:v>0.8946107130807549</c:v>
                </c:pt>
                <c:pt idx="2">
                  <c:v>0.7730736868867245</c:v>
                </c:pt>
                <c:pt idx="3">
                  <c:v>0.8648950151288243</c:v>
                </c:pt>
                <c:pt idx="4">
                  <c:v>1.1571079222996354</c:v>
                </c:pt>
                <c:pt idx="5">
                  <c:v>0.7860516810225062</c:v>
                </c:pt>
                <c:pt idx="6">
                  <c:v>0.9530801064923425</c:v>
                </c:pt>
                <c:pt idx="7">
                  <c:v>1.137637783779838</c:v>
                </c:pt>
                <c:pt idx="8">
                  <c:v>0.8951272211293495</c:v>
                </c:pt>
                <c:pt idx="9">
                  <c:v>0.9020130649246767</c:v>
                </c:pt>
                <c:pt idx="10">
                  <c:v>0.9404564133951211</c:v>
                </c:pt>
                <c:pt idx="11">
                  <c:v>1.661831227577601</c:v>
                </c:pt>
                <c:pt idx="12">
                  <c:v>1.1710164835164836</c:v>
                </c:pt>
                <c:pt idx="13">
                  <c:v>2.019940915805022</c:v>
                </c:pt>
                <c:pt idx="14">
                  <c:v>1.024939007861209</c:v>
                </c:pt>
                <c:pt idx="15">
                  <c:v>0.7258734424627412</c:v>
                </c:pt>
                <c:pt idx="16">
                  <c:v>0.294900722021660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ousseux Bordelai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strCache>
            </c:strRef>
          </c:cat>
          <c:val>
            <c:numRef>
              <c:f>Sheet1!$B$2:$B$17</c:f>
              <c:numCache>
                <c:formatCode>General</c:formatCode>
                <c:ptCount val="16"/>
                <c:pt idx="0">
                  <c:v>0.001681</c:v>
                </c:pt>
                <c:pt idx="1">
                  <c:v>0.501752</c:v>
                </c:pt>
                <c:pt idx="2">
                  <c:v>0.074187</c:v>
                </c:pt>
                <c:pt idx="3">
                  <c:v>0.055084</c:v>
                </c:pt>
                <c:pt idx="4">
                  <c:v>0.048164</c:v>
                </c:pt>
                <c:pt idx="5">
                  <c:v>0.044133</c:v>
                </c:pt>
                <c:pt idx="6">
                  <c:v>0.023143</c:v>
                </c:pt>
                <c:pt idx="7">
                  <c:v>0.020733</c:v>
                </c:pt>
                <c:pt idx="8">
                  <c:v>0.015685</c:v>
                </c:pt>
                <c:pt idx="9">
                  <c:v>0.012084</c:v>
                </c:pt>
                <c:pt idx="10">
                  <c:v>0.00902</c:v>
                </c:pt>
                <c:pt idx="11">
                  <c:v>0.008174</c:v>
                </c:pt>
                <c:pt idx="12">
                  <c:v>0.006467</c:v>
                </c:pt>
                <c:pt idx="13">
                  <c:v>0.006029</c:v>
                </c:pt>
                <c:pt idx="14">
                  <c:v>0.001929</c:v>
                </c:pt>
                <c:pt idx="15">
                  <c:v>0.0017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45</a:t>
                    </a:r>
                  </a:p>
                </c:rich>
              </c:tx>
              <c:dLblPos val="t"/>
              <c:showLegendKey val="0"/>
              <c:showVal val="1"/>
              <c:showCatName val="0"/>
              <c:showSerName val="0"/>
              <c:showPercent val="0"/>
              <c:showBubbleSize val="0"/>
            </c:dLbl>
            <c:dLbl>
              <c:idx val="1"/>
              <c:tx>
                <c:rich>
                  <a:bodyPr/>
                  <a:lstStyle/>
                  <a:p>
                    <a:r>
                      <a:t>49.62</a:t>
                    </a:r>
                  </a:p>
                </c:rich>
              </c:tx>
              <c:dLblPos val="t"/>
              <c:showLegendKey val="0"/>
              <c:showVal val="1"/>
              <c:showCatName val="0"/>
              <c:showSerName val="0"/>
              <c:showPercent val="0"/>
              <c:showBubbleSize val="0"/>
            </c:dLbl>
            <c:dLbl>
              <c:idx val="2"/>
              <c:tx>
                <c:rich>
                  <a:bodyPr/>
                  <a:lstStyle/>
                  <a:p>
                    <a:r>
                      <a:t>90.36</a:t>
                    </a:r>
                  </a:p>
                </c:rich>
              </c:tx>
              <c:dLblPos val="t"/>
              <c:showLegendKey val="0"/>
              <c:showVal val="1"/>
              <c:showCatName val="0"/>
              <c:showSerName val="0"/>
              <c:showPercent val="0"/>
              <c:showBubbleSize val="0"/>
            </c:dLbl>
            <c:dLbl>
              <c:idx val="3"/>
              <c:tx>
                <c:rich>
                  <a:bodyPr/>
                  <a:lstStyle/>
                  <a:p>
                    <a:r>
                      <a:t>39.89</a:t>
                    </a:r>
                  </a:p>
                </c:rich>
              </c:tx>
              <c:dLblPos val="t"/>
              <c:showLegendKey val="0"/>
              <c:showVal val="1"/>
              <c:showCatName val="0"/>
              <c:showSerName val="0"/>
              <c:showPercent val="0"/>
              <c:showBubbleSize val="0"/>
            </c:dLbl>
            <c:dLbl>
              <c:idx val="4"/>
              <c:tx>
                <c:rich>
                  <a:bodyPr/>
                  <a:lstStyle/>
                  <a:p>
                    <a:r>
                      <a:t>14.30</a:t>
                    </a:r>
                  </a:p>
                </c:rich>
              </c:tx>
              <c:dLblPos val="t"/>
              <c:showLegendKey val="0"/>
              <c:showVal val="1"/>
              <c:showCatName val="0"/>
              <c:showSerName val="0"/>
              <c:showPercent val="0"/>
              <c:showBubbleSize val="0"/>
            </c:dLbl>
            <c:dLbl>
              <c:idx val="5"/>
              <c:tx>
                <c:rich>
                  <a:bodyPr/>
                  <a:lstStyle/>
                  <a:p>
                    <a:r>
                      <a:t>66.27</a:t>
                    </a:r>
                  </a:p>
                </c:rich>
              </c:tx>
              <c:dLblPos val="t"/>
              <c:showLegendKey val="0"/>
              <c:showVal val="1"/>
              <c:showCatName val="0"/>
              <c:showSerName val="0"/>
              <c:showPercent val="0"/>
              <c:showBubbleSize val="0"/>
            </c:dLbl>
            <c:dLbl>
              <c:idx val="6"/>
              <c:tx>
                <c:rich>
                  <a:bodyPr/>
                  <a:lstStyle/>
                  <a:p>
                    <a:r>
                      <a:t>11.69</a:t>
                    </a:r>
                  </a:p>
                </c:rich>
              </c:tx>
              <c:dLblPos val="t"/>
              <c:showLegendKey val="0"/>
              <c:showVal val="1"/>
              <c:showCatName val="0"/>
              <c:showSerName val="0"/>
              <c:showPercent val="0"/>
              <c:showBubbleSize val="0"/>
            </c:dLbl>
            <c:dLbl>
              <c:idx val="7"/>
              <c:tx>
                <c:rich>
                  <a:bodyPr/>
                  <a:lstStyle/>
                  <a:p>
                    <a:r>
                      <a:t>41.55</a:t>
                    </a:r>
                  </a:p>
                </c:rich>
              </c:tx>
              <c:dLblPos val="t"/>
              <c:showLegendKey val="0"/>
              <c:showVal val="1"/>
              <c:showCatName val="0"/>
              <c:showSerName val="0"/>
              <c:showPercent val="0"/>
              <c:showBubbleSize val="0"/>
            </c:dLbl>
            <c:dLbl>
              <c:idx val="8"/>
              <c:tx>
                <c:rich>
                  <a:bodyPr/>
                  <a:lstStyle/>
                  <a:p>
                    <a:r>
                      <a:t>143.90</a:t>
                    </a:r>
                  </a:p>
                </c:rich>
              </c:tx>
              <c:dLblPos val="t"/>
              <c:showLegendKey val="0"/>
              <c:showVal val="1"/>
              <c:showCatName val="0"/>
              <c:showSerName val="0"/>
              <c:showPercent val="0"/>
              <c:showBubbleSize val="0"/>
            </c:dLbl>
            <c:dLbl>
              <c:idx val="9"/>
              <c:tx>
                <c:rich>
                  <a:bodyPr/>
                  <a:lstStyle/>
                  <a:p>
                    <a:r>
                      <a:t>17.54</a:t>
                    </a:r>
                  </a:p>
                </c:rich>
              </c:tx>
              <c:dLblPos val="t"/>
              <c:showLegendKey val="0"/>
              <c:showVal val="1"/>
              <c:showCatName val="0"/>
              <c:showSerName val="0"/>
              <c:showPercent val="0"/>
              <c:showBubbleSize val="0"/>
            </c:dLbl>
            <c:dLbl>
              <c:idx val="10"/>
              <c:tx>
                <c:rich>
                  <a:bodyPr/>
                  <a:lstStyle/>
                  <a:p>
                    <a:r>
                      <a:t>10.60</a:t>
                    </a:r>
                  </a:p>
                </c:rich>
              </c:tx>
              <c:dLblPos val="t"/>
              <c:showLegendKey val="0"/>
              <c:showVal val="1"/>
              <c:showCatName val="0"/>
              <c:showSerName val="0"/>
              <c:showPercent val="0"/>
              <c:showBubbleSize val="0"/>
            </c:dLbl>
            <c:dLbl>
              <c:idx val="11"/>
              <c:tx>
                <c:rich>
                  <a:bodyPr/>
                  <a:lstStyle/>
                  <a:p>
                    <a:r>
                      <a:t>19.42</a:t>
                    </a:r>
                  </a:p>
                </c:rich>
              </c:tx>
              <c:dLblPos val="t"/>
              <c:showLegendKey val="0"/>
              <c:showVal val="1"/>
              <c:showCatName val="0"/>
              <c:showSerName val="0"/>
              <c:showPercent val="0"/>
              <c:showBubbleSize val="0"/>
            </c:dLbl>
            <c:dLbl>
              <c:idx val="12"/>
              <c:tx>
                <c:rich>
                  <a:bodyPr/>
                  <a:lstStyle/>
                  <a:p>
                    <a:r>
                      <a:t>23.52</a:t>
                    </a:r>
                  </a:p>
                </c:rich>
              </c:tx>
              <c:dLblPos val="t"/>
              <c:showLegendKey val="0"/>
              <c:showVal val="1"/>
              <c:showCatName val="0"/>
              <c:showSerName val="0"/>
              <c:showPercent val="0"/>
              <c:showBubbleSize val="0"/>
            </c:dLbl>
            <c:dLbl>
              <c:idx val="13"/>
              <c:tx>
                <c:rich>
                  <a:bodyPr/>
                  <a:lstStyle/>
                  <a:p>
                    <a:r>
                      <a:t>45.67</a:t>
                    </a:r>
                  </a:p>
                </c:rich>
              </c:tx>
              <c:dLblPos val="t"/>
              <c:showLegendKey val="0"/>
              <c:showVal val="1"/>
              <c:showCatName val="0"/>
              <c:showSerName val="0"/>
              <c:showPercent val="0"/>
              <c:showBubbleSize val="0"/>
            </c:dLbl>
            <c:dLbl>
              <c:idx val="14"/>
              <c:tx>
                <c:rich>
                  <a:bodyPr/>
                  <a:lstStyle/>
                  <a:p>
                    <a:r>
                      <a:t>48.23</a:t>
                    </a:r>
                  </a:p>
                </c:rich>
              </c:tx>
              <c:dLblPos val="t"/>
              <c:showLegendKey val="0"/>
              <c:showVal val="1"/>
              <c:showCatName val="0"/>
              <c:showSerName val="0"/>
              <c:showPercent val="0"/>
              <c:showBubbleSize val="0"/>
            </c:dLbl>
            <c:dLbl>
              <c:idx val="15"/>
              <c:tx>
                <c:rich>
                  <a:bodyPr/>
                  <a:lstStyle/>
                  <a:p>
                    <a:r>
                      <a:t>64.9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ousseux Bordelai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strCache>
            </c:strRef>
          </c:cat>
          <c:val>
            <c:numRef>
              <c:f>Sheet1!$C$2:$C$17</c:f>
              <c:numCache>
                <c:formatCode>General</c:formatCode>
                <c:ptCount val="16"/>
                <c:pt idx="0">
                  <c:v>13.448</c:v>
                </c:pt>
                <c:pt idx="1">
                  <c:v>49.6195</c:v>
                </c:pt>
                <c:pt idx="2">
                  <c:v>90.3618</c:v>
                </c:pt>
                <c:pt idx="3">
                  <c:v>39.887</c:v>
                </c:pt>
                <c:pt idx="4">
                  <c:v>14.3005</c:v>
                </c:pt>
                <c:pt idx="5">
                  <c:v>66.2658</c:v>
                </c:pt>
                <c:pt idx="6">
                  <c:v>11.6884</c:v>
                </c:pt>
                <c:pt idx="7">
                  <c:v>41.5491</c:v>
                </c:pt>
                <c:pt idx="8">
                  <c:v>143.8991</c:v>
                </c:pt>
                <c:pt idx="9">
                  <c:v>17.5385</c:v>
                </c:pt>
                <c:pt idx="10">
                  <c:v>10.5993</c:v>
                </c:pt>
                <c:pt idx="11">
                  <c:v>19.4157</c:v>
                </c:pt>
                <c:pt idx="12">
                  <c:v>23.5164</c:v>
                </c:pt>
                <c:pt idx="13">
                  <c:v>45.6742</c:v>
                </c:pt>
                <c:pt idx="14">
                  <c:v>48.225</c:v>
                </c:pt>
                <c:pt idx="15">
                  <c:v>64.92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40</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0</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2</a:t>
                    </a:r>
                  </a:p>
                </c:rich>
              </c:tx>
              <c:dLblPos val="ctr"/>
              <c:showLegendKey val="0"/>
              <c:showVal val="1"/>
              <c:showCatName val="0"/>
              <c:showSerName val="0"/>
              <c:showPercent val="0"/>
              <c:showBubbleSize val="0"/>
            </c:dLbl>
            <c:dLbl>
              <c:idx val="6"/>
              <c:tx>
                <c:rich>
                  <a:bodyPr/>
                  <a:lstStyle/>
                  <a:p>
                    <a:r>
                      <a:t>95</a:t>
                    </a:r>
                  </a:p>
                </c:rich>
              </c:tx>
              <c:dLblPos val="ctr"/>
              <c:showLegendKey val="0"/>
              <c:showVal val="1"/>
              <c:showCatName val="0"/>
              <c:showSerName val="0"/>
              <c:showPercent val="0"/>
              <c:showBubbleSize val="0"/>
            </c:dLbl>
            <c:dLbl>
              <c:idx val="7"/>
              <c:tx>
                <c:rich>
                  <a:bodyPr/>
                  <a:lstStyle/>
                  <a:p>
                    <a:r>
                      <a:t>98</a:t>
                    </a:r>
                  </a:p>
                </c:rich>
              </c:tx>
              <c:dLblPos val="ctr"/>
              <c:showLegendKey val="0"/>
              <c:showVal val="1"/>
              <c:showCatName val="0"/>
              <c:showSerName val="0"/>
              <c:showPercent val="0"/>
              <c:showBubbleSize val="0"/>
            </c:dLbl>
            <c:dLbl>
              <c:idx val="8"/>
              <c:tx>
                <c:rich>
                  <a:bodyPr/>
                  <a:lstStyle/>
                  <a:p>
                    <a:r>
                      <a:t>78</a:t>
                    </a:r>
                  </a:p>
                </c:rich>
              </c:tx>
              <c:dLblPos val="ctr"/>
              <c:showLegendKey val="0"/>
              <c:showVal val="1"/>
              <c:showCatName val="0"/>
              <c:showSerName val="0"/>
              <c:showPercent val="0"/>
              <c:showBubbleSize val="0"/>
            </c:dLbl>
            <c:dLbl>
              <c:idx val="9"/>
              <c:tx>
                <c:rich>
                  <a:bodyPr/>
                  <a:lstStyle/>
                  <a:p>
                    <a:r>
                      <a:t>117</a:t>
                    </a:r>
                  </a:p>
                </c:rich>
              </c:tx>
              <c:dLblPos val="ctr"/>
              <c:showLegendKey val="0"/>
              <c:showVal val="1"/>
              <c:showCatName val="0"/>
              <c:showSerName val="0"/>
              <c:showPercent val="0"/>
              <c:showBubbleSize val="0"/>
            </c:dLbl>
            <c:dLbl>
              <c:idx val="10"/>
              <c:tx>
                <c:rich>
                  <a:bodyPr/>
                  <a:lstStyle/>
                  <a:p>
                    <a:r>
                      <a:t>81</a:t>
                    </a:r>
                  </a:p>
                </c:rich>
              </c:tx>
              <c:dLblPos val="ctr"/>
              <c:showLegendKey val="0"/>
              <c:showVal val="1"/>
              <c:showCatName val="0"/>
              <c:showSerName val="0"/>
              <c:showPercent val="0"/>
              <c:showBubbleSize val="0"/>
            </c:dLbl>
            <c:dLbl>
              <c:idx val="11"/>
              <c:tx>
                <c:rich>
                  <a:bodyPr/>
                  <a:lstStyle/>
                  <a:p>
                    <a:r>
                      <a:t>153</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07</a:t>
                    </a:r>
                  </a:p>
                </c:rich>
              </c:tx>
              <c:dLblPos val="ctr"/>
              <c:showLegendKey val="0"/>
              <c:showVal val="1"/>
              <c:showCatName val="0"/>
              <c:showSerName val="0"/>
              <c:showPercent val="0"/>
              <c:showBubbleSize val="0"/>
            </c:dLbl>
            <c:dLbl>
              <c:idx val="14"/>
              <c:tx>
                <c:rich>
                  <a:bodyPr/>
                  <a:lstStyle/>
                  <a:p>
                    <a:r>
                      <a:t>131</a:t>
                    </a:r>
                  </a:p>
                </c:rich>
              </c:tx>
              <c:dLblPos val="ctr"/>
              <c:showLegendKey val="0"/>
              <c:showVal val="1"/>
              <c:showCatName val="0"/>
              <c:showSerName val="0"/>
              <c:showPercent val="0"/>
              <c:showBubbleSize val="0"/>
            </c:dLbl>
            <c:dLbl>
              <c:idx val="15"/>
              <c:tx>
                <c:rich>
                  <a:bodyPr/>
                  <a:lstStyle/>
                  <a:p>
                    <a:r>
                      <a:t>7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ousseux Bordelai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strCache>
            </c:strRef>
          </c:cat>
          <c:val>
            <c:numRef>
              <c:f>Sheet1!$B$2:$B$17</c:f>
              <c:numCache>
                <c:formatCode>General</c:formatCode>
                <c:ptCount val="16"/>
                <c:pt idx="0">
                  <c:v>0.39562249941162625</c:v>
                </c:pt>
                <c:pt idx="1">
                  <c:v>0.837355851871631</c:v>
                </c:pt>
                <c:pt idx="2">
                  <c:v>0.7977868826015421</c:v>
                </c:pt>
                <c:pt idx="3">
                  <c:v>0.8207282913165266</c:v>
                </c:pt>
                <c:pt idx="4">
                  <c:v>0.874913714804723</c:v>
                </c:pt>
                <c:pt idx="5">
                  <c:v>0.8168693431062246</c:v>
                </c:pt>
                <c:pt idx="6">
                  <c:v>0.9498460907038785</c:v>
                </c:pt>
                <c:pt idx="7">
                  <c:v>0.9824203942380592</c:v>
                </c:pt>
                <c:pt idx="8">
                  <c:v>0.7834665334665335</c:v>
                </c:pt>
                <c:pt idx="9">
                  <c:v>1.1694570792606214</c:v>
                </c:pt>
                <c:pt idx="10">
                  <c:v>0.8087510086972115</c:v>
                </c:pt>
                <c:pt idx="11">
                  <c:v>1.5341591591591592</c:v>
                </c:pt>
                <c:pt idx="12">
                  <c:v>1.0043485013200808</c:v>
                </c:pt>
                <c:pt idx="13">
                  <c:v>1.0697303051809794</c:v>
                </c:pt>
                <c:pt idx="14">
                  <c:v>1.308683853459973</c:v>
                </c:pt>
                <c:pt idx="15">
                  <c:v>0.71638741315897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089</c:v>
                </c:pt>
                <c:pt idx="1">
                  <c:v>0.027865</c:v>
                </c:pt>
                <c:pt idx="2">
                  <c:v>0.0090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74</c:v>
                </c:pt>
                <c:pt idx="1">
                  <c:v>0.014109</c:v>
                </c:pt>
                <c:pt idx="2">
                  <c:v>0.0053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01</c:v>
                </c:pt>
                <c:pt idx="1">
                  <c:v>0.001784</c:v>
                </c:pt>
                <c:pt idx="2">
                  <c:v>0.0002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638</c:v>
                </c:pt>
                <c:pt idx="1">
                  <c:v>0.001757</c:v>
                </c:pt>
                <c:pt idx="2">
                  <c:v>0.0007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strCache>
            </c:strRef>
          </c:cat>
          <c:val>
            <c:numRef>
              <c:f>Sheet1!$B$2:$B$18</c:f>
              <c:numCache>
                <c:formatCode>General</c:formatCode>
                <c:ptCount val="17"/>
                <c:pt idx="0">
                  <c:v>0.000233</c:v>
                </c:pt>
                <c:pt idx="1">
                  <c:v>11.844374</c:v>
                </c:pt>
                <c:pt idx="2">
                  <c:v>2.768574</c:v>
                </c:pt>
                <c:pt idx="3">
                  <c:v>1.503099</c:v>
                </c:pt>
                <c:pt idx="4">
                  <c:v>1.030861</c:v>
                </c:pt>
                <c:pt idx="5">
                  <c:v>0.755192</c:v>
                </c:pt>
                <c:pt idx="6">
                  <c:v>0.651774</c:v>
                </c:pt>
                <c:pt idx="7">
                  <c:v>0.502089</c:v>
                </c:pt>
                <c:pt idx="8">
                  <c:v>0.210043</c:v>
                </c:pt>
                <c:pt idx="9">
                  <c:v>0.205306</c:v>
                </c:pt>
                <c:pt idx="10">
                  <c:v>0.123577</c:v>
                </c:pt>
                <c:pt idx="11">
                  <c:v>0.116122</c:v>
                </c:pt>
                <c:pt idx="12">
                  <c:v>0.106642</c:v>
                </c:pt>
                <c:pt idx="13">
                  <c:v>0.094873</c:v>
                </c:pt>
                <c:pt idx="14">
                  <c:v>0.078512</c:v>
                </c:pt>
                <c:pt idx="15">
                  <c:v>0.035618</c:v>
                </c:pt>
                <c:pt idx="16">
                  <c:v>0.01475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26</a:t>
                    </a:r>
                  </a:p>
                </c:rich>
              </c:tx>
              <c:dLblPos val="t"/>
              <c:showLegendKey val="0"/>
              <c:showVal val="1"/>
              <c:showCatName val="0"/>
              <c:showSerName val="0"/>
              <c:showPercent val="0"/>
              <c:showBubbleSize val="0"/>
            </c:dLbl>
            <c:dLbl>
              <c:idx val="1"/>
              <c:tx>
                <c:rich>
                  <a:bodyPr/>
                  <a:lstStyle/>
                  <a:p>
                    <a:r>
                      <a:t>53.78</a:t>
                    </a:r>
                  </a:p>
                </c:rich>
              </c:tx>
              <c:dLblPos val="t"/>
              <c:showLegendKey val="0"/>
              <c:showVal val="1"/>
              <c:showCatName val="0"/>
              <c:showSerName val="0"/>
              <c:showPercent val="0"/>
              <c:showBubbleSize val="0"/>
            </c:dLbl>
            <c:dLbl>
              <c:idx val="2"/>
              <c:tx>
                <c:rich>
                  <a:bodyPr/>
                  <a:lstStyle/>
                  <a:p>
                    <a:r>
                      <a:t>103.52</a:t>
                    </a:r>
                  </a:p>
                </c:rich>
              </c:tx>
              <c:dLblPos val="t"/>
              <c:showLegendKey val="0"/>
              <c:showVal val="1"/>
              <c:showCatName val="0"/>
              <c:showSerName val="0"/>
              <c:showPercent val="0"/>
              <c:showBubbleSize val="0"/>
            </c:dLbl>
            <c:dLbl>
              <c:idx val="3"/>
              <c:tx>
                <c:rich>
                  <a:bodyPr/>
                  <a:lstStyle/>
                  <a:p>
                    <a:r>
                      <a:t>86.60</a:t>
                    </a:r>
                  </a:p>
                </c:rich>
              </c:tx>
              <c:dLblPos val="t"/>
              <c:showLegendKey val="0"/>
              <c:showVal val="1"/>
              <c:showCatName val="0"/>
              <c:showSerName val="0"/>
              <c:showPercent val="0"/>
              <c:showBubbleSize val="0"/>
            </c:dLbl>
            <c:dLbl>
              <c:idx val="4"/>
              <c:tx>
                <c:rich>
                  <a:bodyPr/>
                  <a:lstStyle/>
                  <a:p>
                    <a:r>
                      <a:t>208.25</a:t>
                    </a:r>
                  </a:p>
                </c:rich>
              </c:tx>
              <c:dLblPos val="t"/>
              <c:showLegendKey val="0"/>
              <c:showVal val="1"/>
              <c:showCatName val="0"/>
              <c:showSerName val="0"/>
              <c:showPercent val="0"/>
              <c:showBubbleSize val="0"/>
            </c:dLbl>
            <c:dLbl>
              <c:idx val="5"/>
              <c:tx>
                <c:rich>
                  <a:bodyPr/>
                  <a:lstStyle/>
                  <a:p>
                    <a:r>
                      <a:t>39.92</a:t>
                    </a:r>
                  </a:p>
                </c:rich>
              </c:tx>
              <c:dLblPos val="t"/>
              <c:showLegendKey val="0"/>
              <c:showVal val="1"/>
              <c:showCatName val="0"/>
              <c:showSerName val="0"/>
              <c:showPercent val="0"/>
              <c:showBubbleSize val="0"/>
            </c:dLbl>
            <c:dLbl>
              <c:idx val="6"/>
              <c:tx>
                <c:rich>
                  <a:bodyPr/>
                  <a:lstStyle/>
                  <a:p>
                    <a:r>
                      <a:t>44.71</a:t>
                    </a:r>
                  </a:p>
                </c:rich>
              </c:tx>
              <c:dLblPos val="t"/>
              <c:showLegendKey val="0"/>
              <c:showVal val="1"/>
              <c:showCatName val="0"/>
              <c:showSerName val="0"/>
              <c:showPercent val="0"/>
              <c:showBubbleSize val="0"/>
            </c:dLbl>
            <c:dLbl>
              <c:idx val="7"/>
              <c:tx>
                <c:rich>
                  <a:bodyPr/>
                  <a:lstStyle/>
                  <a:p>
                    <a:r>
                      <a:t>12.00</a:t>
                    </a:r>
                  </a:p>
                </c:rich>
              </c:tx>
              <c:dLblPos val="t"/>
              <c:showLegendKey val="0"/>
              <c:showVal val="1"/>
              <c:showCatName val="0"/>
              <c:showSerName val="0"/>
              <c:showPercent val="0"/>
              <c:showBubbleSize val="0"/>
            </c:dLbl>
            <c:dLbl>
              <c:idx val="8"/>
              <c:tx>
                <c:rich>
                  <a:bodyPr/>
                  <a:lstStyle/>
                  <a:p>
                    <a:r>
                      <a:t>15.83</a:t>
                    </a:r>
                  </a:p>
                </c:rich>
              </c:tx>
              <c:dLblPos val="t"/>
              <c:showLegendKey val="0"/>
              <c:showVal val="1"/>
              <c:showCatName val="0"/>
              <c:showSerName val="0"/>
              <c:showPercent val="0"/>
              <c:showBubbleSize val="0"/>
            </c:dLbl>
            <c:dLbl>
              <c:idx val="9"/>
              <c:tx>
                <c:rich>
                  <a:bodyPr/>
                  <a:lstStyle/>
                  <a:p>
                    <a:r>
                      <a:t>24.48</a:t>
                    </a:r>
                  </a:p>
                </c:rich>
              </c:tx>
              <c:dLblPos val="t"/>
              <c:showLegendKey val="0"/>
              <c:showVal val="1"/>
              <c:showCatName val="0"/>
              <c:showSerName val="0"/>
              <c:showPercent val="0"/>
              <c:showBubbleSize val="0"/>
            </c:dLbl>
            <c:dLbl>
              <c:idx val="10"/>
              <c:tx>
                <c:rich>
                  <a:bodyPr/>
                  <a:lstStyle/>
                  <a:p>
                    <a:r>
                      <a:t>17.04</a:t>
                    </a:r>
                  </a:p>
                </c:rich>
              </c:tx>
              <c:dLblPos val="t"/>
              <c:showLegendKey val="0"/>
              <c:showVal val="1"/>
              <c:showCatName val="0"/>
              <c:showSerName val="0"/>
              <c:showPercent val="0"/>
              <c:showBubbleSize val="0"/>
            </c:dLbl>
            <c:dLbl>
              <c:idx val="11"/>
              <c:tx>
                <c:rich>
                  <a:bodyPr/>
                  <a:lstStyle/>
                  <a:p>
                    <a:r>
                      <a:t>51.50</a:t>
                    </a:r>
                  </a:p>
                </c:rich>
              </c:tx>
              <c:dLblPos val="t"/>
              <c:showLegendKey val="0"/>
              <c:showVal val="1"/>
              <c:showCatName val="0"/>
              <c:showSerName val="0"/>
              <c:showPercent val="0"/>
              <c:showBubbleSize val="0"/>
            </c:dLbl>
            <c:dLbl>
              <c:idx val="12"/>
              <c:tx>
                <c:rich>
                  <a:bodyPr/>
                  <a:lstStyle/>
                  <a:p>
                    <a:r>
                      <a:t>13.98</a:t>
                    </a:r>
                  </a:p>
                </c:rich>
              </c:tx>
              <c:dLblPos val="t"/>
              <c:showLegendKey val="0"/>
              <c:showVal val="1"/>
              <c:showCatName val="0"/>
              <c:showSerName val="0"/>
              <c:showPercent val="0"/>
              <c:showBubbleSize val="0"/>
            </c:dLbl>
            <c:dLbl>
              <c:idx val="13"/>
              <c:tx>
                <c:rich>
                  <a:bodyPr/>
                  <a:lstStyle/>
                  <a:p>
                    <a:r>
                      <a:t>64.63</a:t>
                    </a:r>
                  </a:p>
                </c:rich>
              </c:tx>
              <c:dLblPos val="t"/>
              <c:showLegendKey val="0"/>
              <c:showVal val="1"/>
              <c:showCatName val="0"/>
              <c:showSerName val="0"/>
              <c:showPercent val="0"/>
              <c:showBubbleSize val="0"/>
            </c:dLbl>
            <c:dLbl>
              <c:idx val="14"/>
              <c:tx>
                <c:rich>
                  <a:bodyPr/>
                  <a:lstStyle/>
                  <a:p>
                    <a:r>
                      <a:t>23.15</a:t>
                    </a:r>
                  </a:p>
                </c:rich>
              </c:tx>
              <c:dLblPos val="t"/>
              <c:showLegendKey val="0"/>
              <c:showVal val="1"/>
              <c:showCatName val="0"/>
              <c:showSerName val="0"/>
              <c:showPercent val="0"/>
              <c:showBubbleSize val="0"/>
            </c:dLbl>
            <c:dLbl>
              <c:idx val="15"/>
              <c:tx>
                <c:rich>
                  <a:bodyPr/>
                  <a:lstStyle/>
                  <a:p>
                    <a:r>
                      <a:t>48.99</a:t>
                    </a:r>
                  </a:p>
                </c:rich>
              </c:tx>
              <c:dLblPos val="t"/>
              <c:showLegendKey val="0"/>
              <c:showVal val="1"/>
              <c:showCatName val="0"/>
              <c:showSerName val="0"/>
              <c:showPercent val="0"/>
              <c:showBubbleSize val="0"/>
            </c:dLbl>
            <c:dLbl>
              <c:idx val="16"/>
              <c:tx>
                <c:rich>
                  <a:bodyPr/>
                  <a:lstStyle/>
                  <a:p>
                    <a:r>
                      <a:t>14.1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strCache>
            </c:strRef>
          </c:cat>
          <c:val>
            <c:numRef>
              <c:f>Sheet1!$C$2:$C$18</c:f>
              <c:numCache>
                <c:formatCode>General</c:formatCode>
                <c:ptCount val="17"/>
                <c:pt idx="0">
                  <c:v>12.2632</c:v>
                </c:pt>
                <c:pt idx="1">
                  <c:v>53.7772</c:v>
                </c:pt>
                <c:pt idx="2">
                  <c:v>103.5174</c:v>
                </c:pt>
                <c:pt idx="3">
                  <c:v>86.604</c:v>
                </c:pt>
                <c:pt idx="4">
                  <c:v>208.2547</c:v>
                </c:pt>
                <c:pt idx="5">
                  <c:v>39.9213</c:v>
                </c:pt>
                <c:pt idx="6">
                  <c:v>44.7064</c:v>
                </c:pt>
                <c:pt idx="7">
                  <c:v>12.0028</c:v>
                </c:pt>
                <c:pt idx="8">
                  <c:v>15.8344</c:v>
                </c:pt>
                <c:pt idx="9">
                  <c:v>24.482</c:v>
                </c:pt>
                <c:pt idx="10">
                  <c:v>17.0381</c:v>
                </c:pt>
                <c:pt idx="11">
                  <c:v>51.4953</c:v>
                </c:pt>
                <c:pt idx="12">
                  <c:v>13.9767</c:v>
                </c:pt>
                <c:pt idx="13">
                  <c:v>64.6274</c:v>
                </c:pt>
                <c:pt idx="14">
                  <c:v>23.1531</c:v>
                </c:pt>
                <c:pt idx="15">
                  <c:v>48.9931</c:v>
                </c:pt>
                <c:pt idx="16">
                  <c:v>14.13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c:v>
                </c:pt>
                <c:pt idx="1">
                  <c:v>0.00044</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e-05</c:v>
                </c:pt>
                <c:pt idx="1">
                  <c:v>2.4e-05</c:v>
                </c:pt>
                <c:pt idx="2">
                  <c:v>1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9</c:v>
                </c:pt>
                <c:pt idx="1">
                  <c:v>0.000165</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370</a:t>
                    </a:r>
                  </a:p>
                </c:rich>
              </c:tx>
              <c:dLblPos val="ctr"/>
              <c:showLegendKey val="0"/>
              <c:showVal val="1"/>
              <c:showCatName val="0"/>
              <c:showSerName val="0"/>
              <c:showPercent val="0"/>
              <c:showBubbleSize val="0"/>
            </c:dLbl>
            <c:dLbl>
              <c:idx val="1"/>
              <c:tx>
                <c:rich>
                  <a:bodyPr/>
                  <a:lstStyle/>
                  <a:p>
                    <a:r>
                      <a:t>90</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2</a:t>
                    </a:r>
                  </a:p>
                </c:rich>
              </c:tx>
              <c:dLblPos val="ctr"/>
              <c:showLegendKey val="0"/>
              <c:showVal val="1"/>
              <c:showCatName val="0"/>
              <c:showSerName val="0"/>
              <c:showPercent val="0"/>
              <c:showBubbleSize val="0"/>
            </c:dLbl>
            <c:dLbl>
              <c:idx val="5"/>
              <c:tx>
                <c:rich>
                  <a:bodyPr/>
                  <a:lstStyle/>
                  <a:p>
                    <a:r>
                      <a:t>87</a:t>
                    </a:r>
                  </a:p>
                </c:rich>
              </c:tx>
              <c:dLblPos val="ctr"/>
              <c:showLegendKey val="0"/>
              <c:showVal val="1"/>
              <c:showCatName val="0"/>
              <c:showSerName val="0"/>
              <c:showPercent val="0"/>
              <c:showBubbleSize val="0"/>
            </c:dLbl>
            <c:dLbl>
              <c:idx val="6"/>
              <c:tx>
                <c:rich>
                  <a:bodyPr/>
                  <a:lstStyle/>
                  <a:p>
                    <a:r>
                      <a:t>110</a:t>
                    </a:r>
                  </a:p>
                </c:rich>
              </c:tx>
              <c:dLblPos val="ctr"/>
              <c:showLegendKey val="0"/>
              <c:showVal val="1"/>
              <c:showCatName val="0"/>
              <c:showSerName val="0"/>
              <c:showPercent val="0"/>
              <c:showBubbleSize val="0"/>
            </c:dLbl>
            <c:dLbl>
              <c:idx val="7"/>
              <c:tx>
                <c:rich>
                  <a:bodyPr/>
                  <a:lstStyle/>
                  <a:p>
                    <a:r>
                      <a:t>86</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84</a:t>
                    </a:r>
                  </a:p>
                </c:rich>
              </c:tx>
              <c:dLblPos val="ctr"/>
              <c:showLegendKey val="0"/>
              <c:showVal val="1"/>
              <c:showCatName val="0"/>
              <c:showSerName val="0"/>
              <c:showPercent val="0"/>
              <c:showBubbleSize val="0"/>
            </c:dLbl>
            <c:dLbl>
              <c:idx val="10"/>
              <c:tx>
                <c:rich>
                  <a:bodyPr/>
                  <a:lstStyle/>
                  <a:p>
                    <a:r>
                      <a:t>83</a:t>
                    </a:r>
                  </a:p>
                </c:rich>
              </c:tx>
              <c:dLblPos val="ctr"/>
              <c:showLegendKey val="0"/>
              <c:showVal val="1"/>
              <c:showCatName val="0"/>
              <c:showSerName val="0"/>
              <c:showPercent val="0"/>
              <c:showBubbleSize val="0"/>
            </c:dLbl>
            <c:dLbl>
              <c:idx val="11"/>
              <c:tx>
                <c:rich>
                  <a:bodyPr/>
                  <a:lstStyle/>
                  <a:p>
                    <a:r>
                      <a:t>85</a:t>
                    </a:r>
                  </a:p>
                </c:rich>
              </c:tx>
              <c:dLblPos val="ctr"/>
              <c:showLegendKey val="0"/>
              <c:showVal val="1"/>
              <c:showCatName val="0"/>
              <c:showSerName val="0"/>
              <c:showPercent val="0"/>
              <c:showBubbleSize val="0"/>
            </c:dLbl>
            <c:dLbl>
              <c:idx val="12"/>
              <c:tx>
                <c:rich>
                  <a:bodyPr/>
                  <a:lstStyle/>
                  <a:p>
                    <a:r>
                      <a:t>82</a:t>
                    </a:r>
                  </a:p>
                </c:rich>
              </c:tx>
              <c:dLblPos val="ctr"/>
              <c:showLegendKey val="0"/>
              <c:showVal val="1"/>
              <c:showCatName val="0"/>
              <c:showSerName val="0"/>
              <c:showPercent val="0"/>
              <c:showBubbleSize val="0"/>
            </c:dLbl>
            <c:dLbl>
              <c:idx val="13"/>
              <c:tx>
                <c:rich>
                  <a:bodyPr/>
                  <a:lstStyle/>
                  <a:p>
                    <a:r>
                      <a:t>105</a:t>
                    </a:r>
                  </a:p>
                </c:rich>
              </c:tx>
              <c:dLblPos val="ctr"/>
              <c:showLegendKey val="0"/>
              <c:showVal val="1"/>
              <c:showCatName val="0"/>
              <c:showSerName val="0"/>
              <c:showPercent val="0"/>
              <c:showBubbleSize val="0"/>
            </c:dLbl>
            <c:dLbl>
              <c:idx val="14"/>
              <c:tx>
                <c:rich>
                  <a:bodyPr/>
                  <a:lstStyle/>
                  <a:p>
                    <a:r>
                      <a:t>92</a:t>
                    </a:r>
                  </a:p>
                </c:rich>
              </c:tx>
              <c:dLblPos val="ctr"/>
              <c:showLegendKey val="0"/>
              <c:showVal val="1"/>
              <c:showCatName val="0"/>
              <c:showSerName val="0"/>
              <c:showPercent val="0"/>
              <c:showBubbleSize val="0"/>
            </c:dLbl>
            <c:dLbl>
              <c:idx val="15"/>
              <c:tx>
                <c:rich>
                  <a:bodyPr/>
                  <a:lstStyle/>
                  <a:p>
                    <a:r>
                      <a:t>73</a:t>
                    </a:r>
                  </a:p>
                </c:rich>
              </c:tx>
              <c:dLblPos val="ctr"/>
              <c:showLegendKey val="0"/>
              <c:showVal val="1"/>
              <c:showCatName val="0"/>
              <c:showSerName val="0"/>
              <c:showPercent val="0"/>
              <c:showBubbleSize val="0"/>
            </c:dLbl>
            <c:dLbl>
              <c:idx val="16"/>
              <c:tx>
                <c:rich>
                  <a:bodyPr/>
                  <a:lstStyle/>
                  <a:p>
                    <a:r>
                      <a:t>3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strCache>
            </c:strRef>
          </c:cat>
          <c:val>
            <c:numRef>
              <c:f>Sheet1!$B$2:$B$18</c:f>
              <c:numCache>
                <c:formatCode>General</c:formatCode>
                <c:ptCount val="17"/>
                <c:pt idx="0">
                  <c:v>3.6984126984126986</c:v>
                </c:pt>
                <c:pt idx="1">
                  <c:v>0.8976311440585804</c:v>
                </c:pt>
                <c:pt idx="2">
                  <c:v>0.811496830894267</c:v>
                </c:pt>
                <c:pt idx="3">
                  <c:v>0.8247465840840429</c:v>
                </c:pt>
                <c:pt idx="4">
                  <c:v>0.9153445213993961</c:v>
                </c:pt>
                <c:pt idx="5">
                  <c:v>0.874573970726013</c:v>
                </c:pt>
                <c:pt idx="6">
                  <c:v>1.0951736838656234</c:v>
                </c:pt>
                <c:pt idx="7">
                  <c:v>0.8625254460029376</c:v>
                </c:pt>
                <c:pt idx="8">
                  <c:v>1.0319697743888059</c:v>
                </c:pt>
                <c:pt idx="9">
                  <c:v>1.8359743883245099</c:v>
                </c:pt>
                <c:pt idx="10">
                  <c:v>0.8305464076886887</c:v>
                </c:pt>
                <c:pt idx="11">
                  <c:v>0.8454336303803367</c:v>
                </c:pt>
                <c:pt idx="12">
                  <c:v>0.8201212009351544</c:v>
                </c:pt>
                <c:pt idx="13">
                  <c:v>1.0497239402958651</c:v>
                </c:pt>
                <c:pt idx="14">
                  <c:v>0.9211779889710195</c:v>
                </c:pt>
                <c:pt idx="15">
                  <c:v>0.7269127941386558</c:v>
                </c:pt>
                <c:pt idx="16">
                  <c:v>0.387029069157309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29</c:v>
                </c:pt>
                <c:pt idx="1">
                  <c:v>0.017619</c:v>
                </c:pt>
                <c:pt idx="2">
                  <c:v>0.0058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1031</c:v>
                </c:pt>
                <c:pt idx="2">
                  <c:v>6.6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77</c:v>
                </c:pt>
                <c:pt idx="1">
                  <c:v>0.00677</c:v>
                </c:pt>
                <c:pt idx="2">
                  <c:v>0.0019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5e-05</c:v>
                </c:pt>
                <c:pt idx="1">
                  <c:v>7.551887</c:v>
                </c:pt>
                <c:pt idx="2">
                  <c:v>1.376618</c:v>
                </c:pt>
                <c:pt idx="3">
                  <c:v>0.673504</c:v>
                </c:pt>
                <c:pt idx="4">
                  <c:v>0.564354</c:v>
                </c:pt>
                <c:pt idx="5">
                  <c:v>0.438152</c:v>
                </c:pt>
                <c:pt idx="6">
                  <c:v>0.367616</c:v>
                </c:pt>
                <c:pt idx="7">
                  <c:v>0.296886</c:v>
                </c:pt>
                <c:pt idx="8">
                  <c:v>0.202671</c:v>
                </c:pt>
                <c:pt idx="9">
                  <c:v>0.1239</c:v>
                </c:pt>
                <c:pt idx="10">
                  <c:v>0.119844</c:v>
                </c:pt>
                <c:pt idx="11">
                  <c:v>0.116686</c:v>
                </c:pt>
                <c:pt idx="12">
                  <c:v>0.087019</c:v>
                </c:pt>
                <c:pt idx="13">
                  <c:v>0.075089</c:v>
                </c:pt>
                <c:pt idx="14">
                  <c:v>0.043517</c:v>
                </c:pt>
                <c:pt idx="15">
                  <c:v>0.02785</c:v>
                </c:pt>
                <c:pt idx="16">
                  <c:v>0.01244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0</a:t>
                    </a:r>
                  </a:p>
                </c:rich>
              </c:tx>
              <c:dLblPos val="t"/>
              <c:showLegendKey val="0"/>
              <c:showVal val="1"/>
              <c:showCatName val="0"/>
              <c:showSerName val="0"/>
              <c:showPercent val="0"/>
              <c:showBubbleSize val="0"/>
            </c:dLbl>
            <c:dLbl>
              <c:idx val="1"/>
              <c:tx>
                <c:rich>
                  <a:bodyPr/>
                  <a:lstStyle/>
                  <a:p>
                    <a:r>
                      <a:t>52.09</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70.82</a:t>
                    </a:r>
                  </a:p>
                </c:rich>
              </c:tx>
              <c:dLblPos val="t"/>
              <c:showLegendKey val="0"/>
              <c:showVal val="1"/>
              <c:showCatName val="0"/>
              <c:showSerName val="0"/>
              <c:showPercent val="0"/>
              <c:showBubbleSize val="0"/>
            </c:dLbl>
            <c:dLbl>
              <c:idx val="4"/>
              <c:tx>
                <c:rich>
                  <a:bodyPr/>
                  <a:lstStyle/>
                  <a:p>
                    <a:r>
                      <a:t>40.06</a:t>
                    </a:r>
                  </a:p>
                </c:rich>
              </c:tx>
              <c:dLblPos val="t"/>
              <c:showLegendKey val="0"/>
              <c:showVal val="1"/>
              <c:showCatName val="0"/>
              <c:showSerName val="0"/>
              <c:showPercent val="0"/>
              <c:showBubbleSize val="0"/>
            </c:dLbl>
            <c:dLbl>
              <c:idx val="5"/>
              <c:tx>
                <c:rich>
                  <a:bodyPr/>
                  <a:lstStyle/>
                  <a:p>
                    <a:r>
                      <a:t>44.02</a:t>
                    </a:r>
                  </a:p>
                </c:rich>
              </c:tx>
              <c:dLblPos val="t"/>
              <c:showLegendKey val="0"/>
              <c:showVal val="1"/>
              <c:showCatName val="0"/>
              <c:showSerName val="0"/>
              <c:showPercent val="0"/>
              <c:showBubbleSize val="0"/>
            </c:dLbl>
            <c:dLbl>
              <c:idx val="6"/>
              <c:tx>
                <c:rich>
                  <a:bodyPr/>
                  <a:lstStyle/>
                  <a:p>
                    <a:r>
                      <a:t>169.10</a:t>
                    </a:r>
                  </a:p>
                </c:rich>
              </c:tx>
              <c:dLblPos val="t"/>
              <c:showLegendKey val="0"/>
              <c:showVal val="1"/>
              <c:showCatName val="0"/>
              <c:showSerName val="0"/>
              <c:showPercent val="0"/>
              <c:showBubbleSize val="0"/>
            </c:dLbl>
            <c:dLbl>
              <c:idx val="7"/>
              <c:tx>
                <c:rich>
                  <a:bodyPr/>
                  <a:lstStyle/>
                  <a:p>
                    <a:r>
                      <a:t>11.90</a:t>
                    </a:r>
                  </a:p>
                </c:rich>
              </c:tx>
              <c:dLblPos val="t"/>
              <c:showLegendKey val="0"/>
              <c:showVal val="1"/>
              <c:showCatName val="0"/>
              <c:showSerName val="0"/>
              <c:showPercent val="0"/>
              <c:showBubbleSize val="0"/>
            </c:dLbl>
            <c:dLbl>
              <c:idx val="8"/>
              <c:tx>
                <c:rich>
                  <a:bodyPr/>
                  <a:lstStyle/>
                  <a:p>
                    <a:r>
                      <a:t>15.48</a:t>
                    </a:r>
                  </a:p>
                </c:rich>
              </c:tx>
              <c:dLblPos val="t"/>
              <c:showLegendKey val="0"/>
              <c:showVal val="1"/>
              <c:showCatName val="0"/>
              <c:showSerName val="0"/>
              <c:showPercent val="0"/>
              <c:showBubbleSize val="0"/>
            </c:dLbl>
            <c:dLbl>
              <c:idx val="9"/>
              <c:tx>
                <c:rich>
                  <a:bodyPr/>
                  <a:lstStyle/>
                  <a:p>
                    <a:r>
                      <a:t>17.42</a:t>
                    </a:r>
                  </a:p>
                </c:rich>
              </c:tx>
              <c:dLblPos val="t"/>
              <c:showLegendKey val="0"/>
              <c:showVal val="1"/>
              <c:showCatName val="0"/>
              <c:showSerName val="0"/>
              <c:showPercent val="0"/>
              <c:showBubbleSize val="0"/>
            </c:dLbl>
            <c:dLbl>
              <c:idx val="10"/>
              <c:tx>
                <c:rich>
                  <a:bodyPr/>
                  <a:lstStyle/>
                  <a:p>
                    <a:r>
                      <a:t>19.08</a:t>
                    </a:r>
                  </a:p>
                </c:rich>
              </c:tx>
              <c:dLblPos val="t"/>
              <c:showLegendKey val="0"/>
              <c:showVal val="1"/>
              <c:showCatName val="0"/>
              <c:showSerName val="0"/>
              <c:showPercent val="0"/>
              <c:showBubbleSize val="0"/>
            </c:dLbl>
            <c:dLbl>
              <c:idx val="11"/>
              <c:tx>
                <c:rich>
                  <a:bodyPr/>
                  <a:lstStyle/>
                  <a:p>
                    <a:r>
                      <a:t>22.02</a:t>
                    </a:r>
                  </a:p>
                </c:rich>
              </c:tx>
              <c:dLblPos val="t"/>
              <c:showLegendKey val="0"/>
              <c:showVal val="1"/>
              <c:showCatName val="0"/>
              <c:showSerName val="0"/>
              <c:showPercent val="0"/>
              <c:showBubbleSize val="0"/>
            </c:dLbl>
            <c:dLbl>
              <c:idx val="12"/>
              <c:tx>
                <c:rich>
                  <a:bodyPr/>
                  <a:lstStyle/>
                  <a:p>
                    <a:r>
                      <a:t>13.46</a:t>
                    </a:r>
                  </a:p>
                </c:rich>
              </c:tx>
              <c:dLblPos val="t"/>
              <c:showLegendKey val="0"/>
              <c:showVal val="1"/>
              <c:showCatName val="0"/>
              <c:showSerName val="0"/>
              <c:showPercent val="0"/>
              <c:showBubbleSize val="0"/>
            </c:dLbl>
            <c:dLbl>
              <c:idx val="13"/>
              <c:tx>
                <c:rich>
                  <a:bodyPr/>
                  <a:lstStyle/>
                  <a:p>
                    <a:r>
                      <a:t>48.70</a:t>
                    </a:r>
                  </a:p>
                </c:rich>
              </c:tx>
              <c:dLblPos val="t"/>
              <c:showLegendKey val="0"/>
              <c:showVal val="1"/>
              <c:showCatName val="0"/>
              <c:showSerName val="0"/>
              <c:showPercent val="0"/>
              <c:showBubbleSize val="0"/>
            </c:dLbl>
            <c:dLbl>
              <c:idx val="14"/>
              <c:tx>
                <c:rich>
                  <a:bodyPr/>
                  <a:lstStyle/>
                  <a:p>
                    <a:r>
                      <a:t>61.73</a:t>
                    </a:r>
                  </a:p>
                </c:rich>
              </c:tx>
              <c:dLblPos val="t"/>
              <c:showLegendKey val="0"/>
              <c:showVal val="1"/>
              <c:showCatName val="0"/>
              <c:showSerName val="0"/>
              <c:showPercent val="0"/>
              <c:showBubbleSize val="0"/>
            </c:dLbl>
            <c:dLbl>
              <c:idx val="15"/>
              <c:tx>
                <c:rich>
                  <a:bodyPr/>
                  <a:lstStyle/>
                  <a:p>
                    <a:r>
                      <a:t>49.47</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C$2:$C$18</c:f>
              <c:numCache>
                <c:formatCode>General</c:formatCode>
                <c:ptCount val="17"/>
                <c:pt idx="0">
                  <c:v>10.0</c:v>
                </c:pt>
                <c:pt idx="1">
                  <c:v>52.087</c:v>
                </c:pt>
                <c:pt idx="2">
                  <c:v>96.2401</c:v>
                </c:pt>
                <c:pt idx="3">
                  <c:v>70.8206</c:v>
                </c:pt>
                <c:pt idx="4">
                  <c:v>40.0564</c:v>
                </c:pt>
                <c:pt idx="5">
                  <c:v>44.0221</c:v>
                </c:pt>
                <c:pt idx="6">
                  <c:v>169.0966</c:v>
                </c:pt>
                <c:pt idx="7">
                  <c:v>11.9002</c:v>
                </c:pt>
                <c:pt idx="8">
                  <c:v>15.4805</c:v>
                </c:pt>
                <c:pt idx="9">
                  <c:v>17.4164</c:v>
                </c:pt>
                <c:pt idx="10">
                  <c:v>19.0834</c:v>
                </c:pt>
                <c:pt idx="11">
                  <c:v>22.0204</c:v>
                </c:pt>
                <c:pt idx="12">
                  <c:v>13.4642</c:v>
                </c:pt>
                <c:pt idx="13">
                  <c:v>48.6958</c:v>
                </c:pt>
                <c:pt idx="14">
                  <c:v>61.7262</c:v>
                </c:pt>
                <c:pt idx="15">
                  <c:v>49.4671</c:v>
                </c:pt>
                <c:pt idx="16">
                  <c:v>13.9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9</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102</a:t>
                    </a:r>
                  </a:p>
                </c:rich>
              </c:tx>
              <c:dLblPos val="ctr"/>
              <c:showLegendKey val="0"/>
              <c:showVal val="1"/>
              <c:showCatName val="0"/>
              <c:showSerName val="0"/>
              <c:showPercent val="0"/>
              <c:showBubbleSize val="0"/>
            </c:dLbl>
            <c:dLbl>
              <c:idx val="6"/>
              <c:tx>
                <c:rich>
                  <a:bodyPr/>
                  <a:lstStyle/>
                  <a:p>
                    <a:r>
                      <a:t>83</a:t>
                    </a:r>
                  </a:p>
                </c:rich>
              </c:tx>
              <c:dLblPos val="ctr"/>
              <c:showLegendKey val="0"/>
              <c:showVal val="1"/>
              <c:showCatName val="0"/>
              <c:showSerName val="0"/>
              <c:showPercent val="0"/>
              <c:showBubbleSize val="0"/>
            </c:dLbl>
            <c:dLbl>
              <c:idx val="7"/>
              <c:tx>
                <c:rich>
                  <a:bodyPr/>
                  <a:lstStyle/>
                  <a:p>
                    <a:r>
                      <a:t>93</a:t>
                    </a:r>
                  </a:p>
                </c:rich>
              </c:tx>
              <c:dLblPos val="ctr"/>
              <c:showLegendKey val="0"/>
              <c:showVal val="1"/>
              <c:showCatName val="0"/>
              <c:showSerName val="0"/>
              <c:showPercent val="0"/>
              <c:showBubbleSize val="0"/>
            </c:dLbl>
            <c:dLbl>
              <c:idx val="8"/>
              <c:tx>
                <c:rich>
                  <a:bodyPr/>
                  <a:lstStyle/>
                  <a:p>
                    <a:r>
                      <a:t>101</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84</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8</a:t>
                    </a:r>
                  </a:p>
                </c:rich>
              </c:tx>
              <c:dLblPos val="ctr"/>
              <c:showLegendKey val="0"/>
              <c:showVal val="1"/>
              <c:showCatName val="0"/>
              <c:showSerName val="0"/>
              <c:showPercent val="0"/>
              <c:showBubbleSize val="0"/>
            </c:dLbl>
            <c:dLbl>
              <c:idx val="15"/>
              <c:tx>
                <c:rich>
                  <a:bodyPr/>
                  <a:lstStyle/>
                  <a:p>
                    <a:r>
                      <a:t>88</a:t>
                    </a:r>
                  </a:p>
                </c:rich>
              </c:tx>
              <c:dLblPos val="ctr"/>
              <c:showLegendKey val="0"/>
              <c:showVal val="1"/>
              <c:showCatName val="0"/>
              <c:showSerName val="0"/>
              <c:showPercent val="0"/>
              <c:showBubbleSize val="0"/>
            </c:dLbl>
            <c:dLbl>
              <c:idx val="16"/>
              <c:tx>
                <c:rich>
                  <a:bodyPr/>
                  <a:lstStyle/>
                  <a:p>
                    <a:r>
                      <a:t>4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1.1904761904761905</c:v>
                </c:pt>
                <c:pt idx="1">
                  <c:v>0.8764408772478137</c:v>
                </c:pt>
                <c:pt idx="2">
                  <c:v>0.657046403593805</c:v>
                </c:pt>
                <c:pt idx="3">
                  <c:v>0.8115708713459946</c:v>
                </c:pt>
                <c:pt idx="4">
                  <c:v>0.8521046162951869</c:v>
                </c:pt>
                <c:pt idx="5">
                  <c:v>1.017344583706772</c:v>
                </c:pt>
                <c:pt idx="6">
                  <c:v>0.8253559136332714</c:v>
                </c:pt>
                <c:pt idx="7">
                  <c:v>0.9334041777230027</c:v>
                </c:pt>
                <c:pt idx="8">
                  <c:v>1.0051180575186347</c:v>
                </c:pt>
                <c:pt idx="9">
                  <c:v>0.8572911261027504</c:v>
                </c:pt>
                <c:pt idx="10">
                  <c:v>0.941999481225879</c:v>
                </c:pt>
                <c:pt idx="11">
                  <c:v>1.8350317670000629</c:v>
                </c:pt>
                <c:pt idx="12">
                  <c:v>1.0009086726478031</c:v>
                </c:pt>
                <c:pt idx="13">
                  <c:v>1.1073440495502138</c:v>
                </c:pt>
                <c:pt idx="14">
                  <c:v>1.0751309417926673</c:v>
                </c:pt>
                <c:pt idx="15">
                  <c:v>0.8842954213500984</c:v>
                </c:pt>
                <c:pt idx="16">
                  <c:v>0.408151888772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5e-05</c:v>
                </c:pt>
                <c:pt idx="1">
                  <c:v>7.551887</c:v>
                </c:pt>
                <c:pt idx="2">
                  <c:v>1.376618</c:v>
                </c:pt>
                <c:pt idx="3">
                  <c:v>0.673504</c:v>
                </c:pt>
                <c:pt idx="4">
                  <c:v>0.564354</c:v>
                </c:pt>
                <c:pt idx="5">
                  <c:v>0.438152</c:v>
                </c:pt>
                <c:pt idx="6">
                  <c:v>0.367616</c:v>
                </c:pt>
                <c:pt idx="7">
                  <c:v>0.296886</c:v>
                </c:pt>
                <c:pt idx="8">
                  <c:v>0.202671</c:v>
                </c:pt>
                <c:pt idx="9">
                  <c:v>0.1239</c:v>
                </c:pt>
                <c:pt idx="10">
                  <c:v>0.119844</c:v>
                </c:pt>
                <c:pt idx="11">
                  <c:v>0.116686</c:v>
                </c:pt>
                <c:pt idx="12">
                  <c:v>0.087019</c:v>
                </c:pt>
                <c:pt idx="13">
                  <c:v>0.075089</c:v>
                </c:pt>
                <c:pt idx="14">
                  <c:v>0.043517</c:v>
                </c:pt>
                <c:pt idx="15">
                  <c:v>0.02785</c:v>
                </c:pt>
                <c:pt idx="16">
                  <c:v>0.01244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00</a:t>
                    </a:r>
                  </a:p>
                </c:rich>
              </c:tx>
              <c:dLblPos val="t"/>
              <c:showLegendKey val="0"/>
              <c:showVal val="1"/>
              <c:showCatName val="0"/>
              <c:showSerName val="0"/>
              <c:showPercent val="0"/>
              <c:showBubbleSize val="0"/>
            </c:dLbl>
            <c:dLbl>
              <c:idx val="1"/>
              <c:tx>
                <c:rich>
                  <a:bodyPr/>
                  <a:lstStyle/>
                  <a:p>
                    <a:r>
                      <a:t>52.09</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70.82</a:t>
                    </a:r>
                  </a:p>
                </c:rich>
              </c:tx>
              <c:dLblPos val="t"/>
              <c:showLegendKey val="0"/>
              <c:showVal val="1"/>
              <c:showCatName val="0"/>
              <c:showSerName val="0"/>
              <c:showPercent val="0"/>
              <c:showBubbleSize val="0"/>
            </c:dLbl>
            <c:dLbl>
              <c:idx val="4"/>
              <c:tx>
                <c:rich>
                  <a:bodyPr/>
                  <a:lstStyle/>
                  <a:p>
                    <a:r>
                      <a:t>40.06</a:t>
                    </a:r>
                  </a:p>
                </c:rich>
              </c:tx>
              <c:dLblPos val="t"/>
              <c:showLegendKey val="0"/>
              <c:showVal val="1"/>
              <c:showCatName val="0"/>
              <c:showSerName val="0"/>
              <c:showPercent val="0"/>
              <c:showBubbleSize val="0"/>
            </c:dLbl>
            <c:dLbl>
              <c:idx val="5"/>
              <c:tx>
                <c:rich>
                  <a:bodyPr/>
                  <a:lstStyle/>
                  <a:p>
                    <a:r>
                      <a:t>44.02</a:t>
                    </a:r>
                  </a:p>
                </c:rich>
              </c:tx>
              <c:dLblPos val="t"/>
              <c:showLegendKey val="0"/>
              <c:showVal val="1"/>
              <c:showCatName val="0"/>
              <c:showSerName val="0"/>
              <c:showPercent val="0"/>
              <c:showBubbleSize val="0"/>
            </c:dLbl>
            <c:dLbl>
              <c:idx val="6"/>
              <c:tx>
                <c:rich>
                  <a:bodyPr/>
                  <a:lstStyle/>
                  <a:p>
                    <a:r>
                      <a:t>169.10</a:t>
                    </a:r>
                  </a:p>
                </c:rich>
              </c:tx>
              <c:dLblPos val="t"/>
              <c:showLegendKey val="0"/>
              <c:showVal val="1"/>
              <c:showCatName val="0"/>
              <c:showSerName val="0"/>
              <c:showPercent val="0"/>
              <c:showBubbleSize val="0"/>
            </c:dLbl>
            <c:dLbl>
              <c:idx val="7"/>
              <c:tx>
                <c:rich>
                  <a:bodyPr/>
                  <a:lstStyle/>
                  <a:p>
                    <a:r>
                      <a:t>11.90</a:t>
                    </a:r>
                  </a:p>
                </c:rich>
              </c:tx>
              <c:dLblPos val="t"/>
              <c:showLegendKey val="0"/>
              <c:showVal val="1"/>
              <c:showCatName val="0"/>
              <c:showSerName val="0"/>
              <c:showPercent val="0"/>
              <c:showBubbleSize val="0"/>
            </c:dLbl>
            <c:dLbl>
              <c:idx val="8"/>
              <c:tx>
                <c:rich>
                  <a:bodyPr/>
                  <a:lstStyle/>
                  <a:p>
                    <a:r>
                      <a:t>15.48</a:t>
                    </a:r>
                  </a:p>
                </c:rich>
              </c:tx>
              <c:dLblPos val="t"/>
              <c:showLegendKey val="0"/>
              <c:showVal val="1"/>
              <c:showCatName val="0"/>
              <c:showSerName val="0"/>
              <c:showPercent val="0"/>
              <c:showBubbleSize val="0"/>
            </c:dLbl>
            <c:dLbl>
              <c:idx val="9"/>
              <c:tx>
                <c:rich>
                  <a:bodyPr/>
                  <a:lstStyle/>
                  <a:p>
                    <a:r>
                      <a:t>17.42</a:t>
                    </a:r>
                  </a:p>
                </c:rich>
              </c:tx>
              <c:dLblPos val="t"/>
              <c:showLegendKey val="0"/>
              <c:showVal val="1"/>
              <c:showCatName val="0"/>
              <c:showSerName val="0"/>
              <c:showPercent val="0"/>
              <c:showBubbleSize val="0"/>
            </c:dLbl>
            <c:dLbl>
              <c:idx val="10"/>
              <c:tx>
                <c:rich>
                  <a:bodyPr/>
                  <a:lstStyle/>
                  <a:p>
                    <a:r>
                      <a:t>19.08</a:t>
                    </a:r>
                  </a:p>
                </c:rich>
              </c:tx>
              <c:dLblPos val="t"/>
              <c:showLegendKey val="0"/>
              <c:showVal val="1"/>
              <c:showCatName val="0"/>
              <c:showSerName val="0"/>
              <c:showPercent val="0"/>
              <c:showBubbleSize val="0"/>
            </c:dLbl>
            <c:dLbl>
              <c:idx val="11"/>
              <c:tx>
                <c:rich>
                  <a:bodyPr/>
                  <a:lstStyle/>
                  <a:p>
                    <a:r>
                      <a:t>22.02</a:t>
                    </a:r>
                  </a:p>
                </c:rich>
              </c:tx>
              <c:dLblPos val="t"/>
              <c:showLegendKey val="0"/>
              <c:showVal val="1"/>
              <c:showCatName val="0"/>
              <c:showSerName val="0"/>
              <c:showPercent val="0"/>
              <c:showBubbleSize val="0"/>
            </c:dLbl>
            <c:dLbl>
              <c:idx val="12"/>
              <c:tx>
                <c:rich>
                  <a:bodyPr/>
                  <a:lstStyle/>
                  <a:p>
                    <a:r>
                      <a:t>13.46</a:t>
                    </a:r>
                  </a:p>
                </c:rich>
              </c:tx>
              <c:dLblPos val="t"/>
              <c:showLegendKey val="0"/>
              <c:showVal val="1"/>
              <c:showCatName val="0"/>
              <c:showSerName val="0"/>
              <c:showPercent val="0"/>
              <c:showBubbleSize val="0"/>
            </c:dLbl>
            <c:dLbl>
              <c:idx val="13"/>
              <c:tx>
                <c:rich>
                  <a:bodyPr/>
                  <a:lstStyle/>
                  <a:p>
                    <a:r>
                      <a:t>48.70</a:t>
                    </a:r>
                  </a:p>
                </c:rich>
              </c:tx>
              <c:dLblPos val="t"/>
              <c:showLegendKey val="0"/>
              <c:showVal val="1"/>
              <c:showCatName val="0"/>
              <c:showSerName val="0"/>
              <c:showPercent val="0"/>
              <c:showBubbleSize val="0"/>
            </c:dLbl>
            <c:dLbl>
              <c:idx val="14"/>
              <c:tx>
                <c:rich>
                  <a:bodyPr/>
                  <a:lstStyle/>
                  <a:p>
                    <a:r>
                      <a:t>61.73</a:t>
                    </a:r>
                  </a:p>
                </c:rich>
              </c:tx>
              <c:dLblPos val="t"/>
              <c:showLegendKey val="0"/>
              <c:showVal val="1"/>
              <c:showCatName val="0"/>
              <c:showSerName val="0"/>
              <c:showPercent val="0"/>
              <c:showBubbleSize val="0"/>
            </c:dLbl>
            <c:dLbl>
              <c:idx val="15"/>
              <c:tx>
                <c:rich>
                  <a:bodyPr/>
                  <a:lstStyle/>
                  <a:p>
                    <a:r>
                      <a:t>49.47</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C$2:$C$18</c:f>
              <c:numCache>
                <c:formatCode>General</c:formatCode>
                <c:ptCount val="17"/>
                <c:pt idx="0">
                  <c:v>10.0</c:v>
                </c:pt>
                <c:pt idx="1">
                  <c:v>52.087</c:v>
                </c:pt>
                <c:pt idx="2">
                  <c:v>96.2401</c:v>
                </c:pt>
                <c:pt idx="3">
                  <c:v>70.8206</c:v>
                </c:pt>
                <c:pt idx="4">
                  <c:v>40.0564</c:v>
                </c:pt>
                <c:pt idx="5">
                  <c:v>44.0221</c:v>
                </c:pt>
                <c:pt idx="6">
                  <c:v>169.0966</c:v>
                </c:pt>
                <c:pt idx="7">
                  <c:v>11.9002</c:v>
                </c:pt>
                <c:pt idx="8">
                  <c:v>15.4805</c:v>
                </c:pt>
                <c:pt idx="9">
                  <c:v>17.4164</c:v>
                </c:pt>
                <c:pt idx="10">
                  <c:v>19.0834</c:v>
                </c:pt>
                <c:pt idx="11">
                  <c:v>22.0204</c:v>
                </c:pt>
                <c:pt idx="12">
                  <c:v>13.4642</c:v>
                </c:pt>
                <c:pt idx="13">
                  <c:v>48.6958</c:v>
                </c:pt>
                <c:pt idx="14">
                  <c:v>61.7262</c:v>
                </c:pt>
                <c:pt idx="15">
                  <c:v>49.4671</c:v>
                </c:pt>
                <c:pt idx="16">
                  <c:v>13.9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9</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102</a:t>
                    </a:r>
                  </a:p>
                </c:rich>
              </c:tx>
              <c:dLblPos val="ctr"/>
              <c:showLegendKey val="0"/>
              <c:showVal val="1"/>
              <c:showCatName val="0"/>
              <c:showSerName val="0"/>
              <c:showPercent val="0"/>
              <c:showBubbleSize val="0"/>
            </c:dLbl>
            <c:dLbl>
              <c:idx val="6"/>
              <c:tx>
                <c:rich>
                  <a:bodyPr/>
                  <a:lstStyle/>
                  <a:p>
                    <a:r>
                      <a:t>83</a:t>
                    </a:r>
                  </a:p>
                </c:rich>
              </c:tx>
              <c:dLblPos val="ctr"/>
              <c:showLegendKey val="0"/>
              <c:showVal val="1"/>
              <c:showCatName val="0"/>
              <c:showSerName val="0"/>
              <c:showPercent val="0"/>
              <c:showBubbleSize val="0"/>
            </c:dLbl>
            <c:dLbl>
              <c:idx val="7"/>
              <c:tx>
                <c:rich>
                  <a:bodyPr/>
                  <a:lstStyle/>
                  <a:p>
                    <a:r>
                      <a:t>93</a:t>
                    </a:r>
                  </a:p>
                </c:rich>
              </c:tx>
              <c:dLblPos val="ctr"/>
              <c:showLegendKey val="0"/>
              <c:showVal val="1"/>
              <c:showCatName val="0"/>
              <c:showSerName val="0"/>
              <c:showPercent val="0"/>
              <c:showBubbleSize val="0"/>
            </c:dLbl>
            <c:dLbl>
              <c:idx val="8"/>
              <c:tx>
                <c:rich>
                  <a:bodyPr/>
                  <a:lstStyle/>
                  <a:p>
                    <a:r>
                      <a:t>101</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84</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8</a:t>
                    </a:r>
                  </a:p>
                </c:rich>
              </c:tx>
              <c:dLblPos val="ctr"/>
              <c:showLegendKey val="0"/>
              <c:showVal val="1"/>
              <c:showCatName val="0"/>
              <c:showSerName val="0"/>
              <c:showPercent val="0"/>
              <c:showBubbleSize val="0"/>
            </c:dLbl>
            <c:dLbl>
              <c:idx val="15"/>
              <c:tx>
                <c:rich>
                  <a:bodyPr/>
                  <a:lstStyle/>
                  <a:p>
                    <a:r>
                      <a:t>88</a:t>
                    </a:r>
                  </a:p>
                </c:rich>
              </c:tx>
              <c:dLblPos val="ctr"/>
              <c:showLegendKey val="0"/>
              <c:showVal val="1"/>
              <c:showCatName val="0"/>
              <c:showSerName val="0"/>
              <c:showPercent val="0"/>
              <c:showBubbleSize val="0"/>
            </c:dLbl>
            <c:dLbl>
              <c:idx val="16"/>
              <c:tx>
                <c:rich>
                  <a:bodyPr/>
                  <a:lstStyle/>
                  <a:p>
                    <a:r>
                      <a:t>41</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Mousseux Espagnol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strCache>
            </c:strRef>
          </c:cat>
          <c:val>
            <c:numRef>
              <c:f>Sheet1!$B$2:$B$18</c:f>
              <c:numCache>
                <c:formatCode>General</c:formatCode>
                <c:ptCount val="17"/>
                <c:pt idx="0">
                  <c:v>1.1904761904761905</c:v>
                </c:pt>
                <c:pt idx="1">
                  <c:v>0.8764408772478137</c:v>
                </c:pt>
                <c:pt idx="2">
                  <c:v>0.657046403593805</c:v>
                </c:pt>
                <c:pt idx="3">
                  <c:v>0.8115708713459946</c:v>
                </c:pt>
                <c:pt idx="4">
                  <c:v>0.8521046162951869</c:v>
                </c:pt>
                <c:pt idx="5">
                  <c:v>1.017344583706772</c:v>
                </c:pt>
                <c:pt idx="6">
                  <c:v>0.8253559136332714</c:v>
                </c:pt>
                <c:pt idx="7">
                  <c:v>0.9334041777230027</c:v>
                </c:pt>
                <c:pt idx="8">
                  <c:v>1.0051180575186347</c:v>
                </c:pt>
                <c:pt idx="9">
                  <c:v>0.8572911261027504</c:v>
                </c:pt>
                <c:pt idx="10">
                  <c:v>0.941999481225879</c:v>
                </c:pt>
                <c:pt idx="11">
                  <c:v>1.8350317670000629</c:v>
                </c:pt>
                <c:pt idx="12">
                  <c:v>1.0009086726478031</c:v>
                </c:pt>
                <c:pt idx="13">
                  <c:v>1.1073440495502138</c:v>
                </c:pt>
                <c:pt idx="14">
                  <c:v>1.0751309417926673</c:v>
                </c:pt>
                <c:pt idx="15">
                  <c:v>0.8842954213500984</c:v>
                </c:pt>
                <c:pt idx="16">
                  <c:v>0.408151888772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33</c:v>
                </c:pt>
                <c:pt idx="1">
                  <c:v>0.000178</c:v>
                </c:pt>
                <c:pt idx="2">
                  <c:v>0.00012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e-05</c:v>
                </c:pt>
                <c:pt idx="1">
                  <c:v>1.2e-05</c:v>
                </c:pt>
                <c:pt idx="2">
                  <c:v>2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e-05</c:v>
                </c:pt>
                <c:pt idx="1">
                  <c:v>8.5e-05</c:v>
                </c:pt>
                <c:pt idx="2">
                  <c:v>3.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567.142783</c:v>
                </c:pt>
                <c:pt idx="1">
                  <c:v>504.396853</c:v>
                </c:pt>
                <c:pt idx="2">
                  <c:v>62.9016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26.39</a:t>
                    </a:r>
                  </a:p>
                </c:rich>
              </c:tx>
              <c:dLblPos val="t"/>
              <c:showLegendKey val="0"/>
              <c:showVal val="1"/>
              <c:showCatName val="0"/>
              <c:showSerName val="0"/>
              <c:showPercent val="0"/>
              <c:showBubbleSize val="0"/>
            </c:dLbl>
            <c:dLbl>
              <c:idx val="2"/>
              <c:tx>
                <c:rich>
                  <a:bodyPr/>
                  <a:lstStyle/>
                  <a:p>
                    <a:r>
                      <a:t>57.5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28.0685</c:v>
                </c:pt>
                <c:pt idx="1">
                  <c:v>26.3901</c:v>
                </c:pt>
                <c:pt idx="2">
                  <c:v>57.546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106</a:t>
                    </a:r>
                  </a:p>
                </c:rich>
              </c:tx>
              <c:dLblPos val="ctr"/>
              <c:showLegendKey val="0"/>
              <c:showVal val="1"/>
              <c:showCatName val="0"/>
              <c:showSerName val="0"/>
              <c:showPercent val="0"/>
              <c:showBubbleSize val="0"/>
            </c:dLbl>
            <c:dLbl>
              <c:idx val="2"/>
              <c:tx>
                <c:rich>
                  <a:bodyPr/>
                  <a:lstStyle/>
                  <a:p>
                    <a:r>
                      <a:t>8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1.0443491786017833</c:v>
                </c:pt>
                <c:pt idx="1">
                  <c:v>1.062068535781806</c:v>
                </c:pt>
                <c:pt idx="2">
                  <c:v>0.8578224185236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B$2:$B$4</c:f>
              <c:numCache>
                <c:formatCode>General</c:formatCode>
                <c:ptCount val="3"/>
                <c:pt idx="0">
                  <c:v>16.217922</c:v>
                </c:pt>
                <c:pt idx="1">
                  <c:v>8.118748</c:v>
                </c:pt>
                <c:pt idx="2">
                  <c:v>8.11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49</a:t>
                    </a:r>
                  </a:p>
                </c:rich>
              </c:tx>
              <c:dLblPos val="t"/>
              <c:showLegendKey val="0"/>
              <c:showVal val="1"/>
              <c:showCatName val="0"/>
              <c:showSerName val="0"/>
              <c:showPercent val="0"/>
              <c:showBubbleSize val="0"/>
            </c:dLbl>
            <c:dLbl>
              <c:idx val="1"/>
              <c:tx>
                <c:rich>
                  <a:bodyPr/>
                  <a:lstStyle/>
                  <a:p>
                    <a:r>
                      <a:t>97.59</a:t>
                    </a:r>
                  </a:p>
                </c:rich>
              </c:tx>
              <c:dLblPos val="t"/>
              <c:showLegendKey val="0"/>
              <c:showVal val="1"/>
              <c:showCatName val="0"/>
              <c:showSerName val="0"/>
              <c:showPercent val="0"/>
              <c:showBubbleSize val="0"/>
            </c:dLbl>
            <c:dLbl>
              <c:idx val="2"/>
              <c:tx>
                <c:rich>
                  <a:bodyPr/>
                  <a:lstStyle/>
                  <a:p>
                    <a:r>
                      <a:t>51.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C$2:$C$4</c:f>
              <c:numCache>
                <c:formatCode>General</c:formatCode>
                <c:ptCount val="3"/>
                <c:pt idx="0">
                  <c:v>67.4872</c:v>
                </c:pt>
                <c:pt idx="1">
                  <c:v>97.5917</c:v>
                </c:pt>
                <c:pt idx="2">
                  <c:v>51.64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75</a:t>
                    </a:r>
                  </a:p>
                </c:rich>
              </c:tx>
              <c:dLblPos val="ctr"/>
              <c:showLegendKey val="0"/>
              <c:showVal val="1"/>
              <c:showCatName val="0"/>
              <c:showSerName val="0"/>
              <c:showPercent val="0"/>
              <c:showBubbleSize val="0"/>
            </c:dLbl>
            <c:dLbl>
              <c:idx val="2"/>
              <c:tx>
                <c:rich>
                  <a:bodyPr/>
                  <a:lstStyle/>
                  <a:p>
                    <a:r>
                      <a:t>14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B$2:$B$4</c:f>
              <c:numCache>
                <c:formatCode>General</c:formatCode>
                <c:ptCount val="3"/>
                <c:pt idx="0">
                  <c:v>1.0484762595400452</c:v>
                </c:pt>
                <c:pt idx="1">
                  <c:v>0.7470102560450455</c:v>
                </c:pt>
                <c:pt idx="2">
                  <c:v>1.464373609803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664</c:v>
                </c:pt>
                <c:pt idx="1">
                  <c:v>0.00709</c:v>
                </c:pt>
                <c:pt idx="2">
                  <c:v>0.0049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01</c:v>
                </c:pt>
                <c:pt idx="1">
                  <c:v>0.000504</c:v>
                </c:pt>
                <c:pt idx="2">
                  <c:v>6.7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71</c:v>
                </c:pt>
                <c:pt idx="1">
                  <c:v>0.003429</c:v>
                </c:pt>
                <c:pt idx="2">
                  <c:v>0.001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43.903524</c:v>
                </c:pt>
                <c:pt idx="1">
                  <c:v>39.632817</c:v>
                </c:pt>
                <c:pt idx="2">
                  <c:v>4.2886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98</a:t>
                    </a:r>
                  </a:p>
                </c:rich>
              </c:tx>
              <c:dLblPos val="t"/>
              <c:showLegendKey val="0"/>
              <c:showVal val="1"/>
              <c:showCatName val="0"/>
              <c:showSerName val="0"/>
              <c:showPercent val="0"/>
              <c:showBubbleSize val="0"/>
            </c:dLbl>
            <c:dLbl>
              <c:idx val="1"/>
              <c:tx>
                <c:rich>
                  <a:bodyPr/>
                  <a:lstStyle/>
                  <a:p>
                    <a:r>
                      <a:t>40.07</a:t>
                    </a:r>
                  </a:p>
                </c:rich>
              </c:tx>
              <c:dLblPos val="t"/>
              <c:showLegendKey val="0"/>
              <c:showVal val="1"/>
              <c:showCatName val="0"/>
              <c:showSerName val="0"/>
              <c:showPercent val="0"/>
              <c:showBubbleSize val="0"/>
            </c:dLbl>
            <c:dLbl>
              <c:idx val="2"/>
              <c:tx>
                <c:rich>
                  <a:bodyPr/>
                  <a:lstStyle/>
                  <a:p>
                    <a:r>
                      <a:t>75.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41.9837</c:v>
                </c:pt>
                <c:pt idx="1">
                  <c:v>40.0719</c:v>
                </c:pt>
                <c:pt idx="2">
                  <c:v>75.725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0</a:t>
                    </a:r>
                  </a:p>
                </c:rich>
              </c:tx>
              <c:dLblPos val="ctr"/>
              <c:showLegendKey val="0"/>
              <c:showVal val="1"/>
              <c:showCatName val="0"/>
              <c:showSerName val="0"/>
              <c:showPercent val="0"/>
              <c:showBubbleSize val="0"/>
            </c:dLbl>
            <c:dLbl>
              <c:idx val="1"/>
              <c:tx>
                <c:rich>
                  <a:bodyPr/>
                  <a:lstStyle/>
                  <a:p>
                    <a:r>
                      <a:t>101</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0.9983118968556904</c:v>
                </c:pt>
                <c:pt idx="1">
                  <c:v>1.011866230733016</c:v>
                </c:pt>
                <c:pt idx="2">
                  <c:v>0.823303223101498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475.474501</c:v>
                </c:pt>
                <c:pt idx="1">
                  <c:v>18.780958</c:v>
                </c:pt>
                <c:pt idx="2">
                  <c:v>8.038493</c:v>
                </c:pt>
                <c:pt idx="3">
                  <c:v>4.983584</c:v>
                </c:pt>
                <c:pt idx="4">
                  <c:v>3.252957</c:v>
                </c:pt>
                <c:pt idx="5">
                  <c:v>1.965856</c:v>
                </c:pt>
                <c:pt idx="6">
                  <c:v>1.731407</c:v>
                </c:pt>
                <c:pt idx="7">
                  <c:v>1.614541</c:v>
                </c:pt>
                <c:pt idx="8">
                  <c:v>0.913896</c:v>
                </c:pt>
                <c:pt idx="9">
                  <c:v>0.6823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07</a:t>
                    </a:r>
                  </a:p>
                </c:rich>
              </c:tx>
              <c:dLblPos val="t"/>
              <c:showLegendKey val="0"/>
              <c:showVal val="1"/>
              <c:showCatName val="0"/>
              <c:showSerName val="0"/>
              <c:showPercent val="0"/>
              <c:showBubbleSize val="0"/>
            </c:dLbl>
            <c:dLbl>
              <c:idx val="2"/>
              <c:tx>
                <c:rich>
                  <a:bodyPr/>
                  <a:lstStyle/>
                  <a:p>
                    <a:r>
                      <a:t>50.81</a:t>
                    </a:r>
                  </a:p>
                </c:rich>
              </c:tx>
              <c:dLblPos val="t"/>
              <c:showLegendKey val="0"/>
              <c:showVal val="1"/>
              <c:showCatName val="0"/>
              <c:showSerName val="0"/>
              <c:showPercent val="0"/>
              <c:showBubbleSize val="0"/>
            </c:dLbl>
            <c:dLbl>
              <c:idx val="3"/>
              <c:tx>
                <c:rich>
                  <a:bodyPr/>
                  <a:lstStyle/>
                  <a:p>
                    <a:r>
                      <a:t>54.11</a:t>
                    </a:r>
                  </a:p>
                </c:rich>
              </c:tx>
              <c:dLblPos val="t"/>
              <c:showLegendKey val="0"/>
              <c:showVal val="1"/>
              <c:showCatName val="0"/>
              <c:showSerName val="0"/>
              <c:showPercent val="0"/>
              <c:showBubbleSize val="0"/>
            </c:dLbl>
            <c:dLbl>
              <c:idx val="4"/>
              <c:tx>
                <c:rich>
                  <a:bodyPr/>
                  <a:lstStyle/>
                  <a:p>
                    <a:r>
                      <a:t>55.95</a:t>
                    </a:r>
                  </a:p>
                </c:rich>
              </c:tx>
              <c:dLblPos val="t"/>
              <c:showLegendKey val="0"/>
              <c:showVal val="1"/>
              <c:showCatName val="0"/>
              <c:showSerName val="0"/>
              <c:showPercent val="0"/>
              <c:showBubbleSize val="0"/>
            </c:dLbl>
            <c:dLbl>
              <c:idx val="5"/>
              <c:tx>
                <c:rich>
                  <a:bodyPr/>
                  <a:lstStyle/>
                  <a:p>
                    <a:r>
                      <a:t>54.52</a:t>
                    </a:r>
                  </a:p>
                </c:rich>
              </c:tx>
              <c:dLblPos val="t"/>
              <c:showLegendKey val="0"/>
              <c:showVal val="1"/>
              <c:showCatName val="0"/>
              <c:showSerName val="0"/>
              <c:showPercent val="0"/>
              <c:showBubbleSize val="0"/>
            </c:dLbl>
            <c:dLbl>
              <c:idx val="6"/>
              <c:tx>
                <c:rich>
                  <a:bodyPr/>
                  <a:lstStyle/>
                  <a:p>
                    <a:r>
                      <a:t>51.82</a:t>
                    </a:r>
                  </a:p>
                </c:rich>
              </c:tx>
              <c:dLblPos val="t"/>
              <c:showLegendKey val="0"/>
              <c:showVal val="1"/>
              <c:showCatName val="0"/>
              <c:showSerName val="0"/>
              <c:showPercent val="0"/>
              <c:showBubbleSize val="0"/>
            </c:dLbl>
            <c:dLbl>
              <c:idx val="7"/>
              <c:tx>
                <c:rich>
                  <a:bodyPr/>
                  <a:lstStyle/>
                  <a:p>
                    <a:r>
                      <a:t>51.90</a:t>
                    </a:r>
                  </a:p>
                </c:rich>
              </c:tx>
              <c:dLblPos val="t"/>
              <c:showLegendKey val="0"/>
              <c:showVal val="1"/>
              <c:showCatName val="0"/>
              <c:showSerName val="0"/>
              <c:showPercent val="0"/>
              <c:showBubbleSize val="0"/>
            </c:dLbl>
            <c:dLbl>
              <c:idx val="8"/>
              <c:tx>
                <c:rich>
                  <a:bodyPr/>
                  <a:lstStyle/>
                  <a:p>
                    <a:r>
                      <a:t>51.92</a:t>
                    </a:r>
                  </a:p>
                </c:rich>
              </c:tx>
              <c:dLblPos val="t"/>
              <c:showLegendKey val="0"/>
              <c:showVal val="1"/>
              <c:showCatName val="0"/>
              <c:showSerName val="0"/>
              <c:showPercent val="0"/>
              <c:showBubbleSize val="0"/>
            </c:dLbl>
            <c:dLbl>
              <c:idx val="9"/>
              <c:tx>
                <c:rich>
                  <a:bodyPr/>
                  <a:lstStyle/>
                  <a:p>
                    <a:r>
                      <a:t>54.4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6.3617</c:v>
                </c:pt>
                <c:pt idx="1">
                  <c:v>52.0747</c:v>
                </c:pt>
                <c:pt idx="2">
                  <c:v>50.8096</c:v>
                </c:pt>
                <c:pt idx="3">
                  <c:v>54.1076</c:v>
                </c:pt>
                <c:pt idx="4">
                  <c:v>55.9523</c:v>
                </c:pt>
                <c:pt idx="5">
                  <c:v>54.5163</c:v>
                </c:pt>
                <c:pt idx="6">
                  <c:v>51.8184</c:v>
                </c:pt>
                <c:pt idx="7">
                  <c:v>51.8995</c:v>
                </c:pt>
                <c:pt idx="8">
                  <c:v>51.923</c:v>
                </c:pt>
                <c:pt idx="9">
                  <c:v>54.43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2</a:t>
                    </a:r>
                  </a:p>
                </c:rich>
              </c:tx>
              <c:dLblPos val="ctr"/>
              <c:showLegendKey val="0"/>
              <c:showVal val="1"/>
              <c:showCatName val="0"/>
              <c:showSerName val="0"/>
              <c:showPercent val="0"/>
              <c:showBubbleSize val="0"/>
            </c:dLbl>
            <c:dLbl>
              <c:idx val="9"/>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51774885245448</c:v>
                </c:pt>
                <c:pt idx="1">
                  <c:v>0.8686684676202538</c:v>
                </c:pt>
                <c:pt idx="2">
                  <c:v>0.8798582287037948</c:v>
                </c:pt>
                <c:pt idx="3">
                  <c:v>0.8791002229685868</c:v>
                </c:pt>
                <c:pt idx="4">
                  <c:v>0.8673557432081122</c:v>
                </c:pt>
                <c:pt idx="5">
                  <c:v>0.8940508518436487</c:v>
                </c:pt>
                <c:pt idx="6">
                  <c:v>0.9221349302596337</c:v>
                </c:pt>
                <c:pt idx="7">
                  <c:v>0.8967943402021944</c:v>
                </c:pt>
                <c:pt idx="8">
                  <c:v>0.917203435588733</c:v>
                </c:pt>
                <c:pt idx="9">
                  <c:v>0.86709289454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475.474501</c:v>
                </c:pt>
                <c:pt idx="1">
                  <c:v>18.780958</c:v>
                </c:pt>
                <c:pt idx="2">
                  <c:v>8.038493</c:v>
                </c:pt>
                <c:pt idx="3">
                  <c:v>4.983584</c:v>
                </c:pt>
                <c:pt idx="4">
                  <c:v>3.252957</c:v>
                </c:pt>
                <c:pt idx="5">
                  <c:v>1.965856</c:v>
                </c:pt>
                <c:pt idx="6">
                  <c:v>1.731407</c:v>
                </c:pt>
                <c:pt idx="7">
                  <c:v>1.614541</c:v>
                </c:pt>
                <c:pt idx="8">
                  <c:v>0.913896</c:v>
                </c:pt>
                <c:pt idx="9">
                  <c:v>0.6823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07</a:t>
                    </a:r>
                  </a:p>
                </c:rich>
              </c:tx>
              <c:dLblPos val="t"/>
              <c:showLegendKey val="0"/>
              <c:showVal val="1"/>
              <c:showCatName val="0"/>
              <c:showSerName val="0"/>
              <c:showPercent val="0"/>
              <c:showBubbleSize val="0"/>
            </c:dLbl>
            <c:dLbl>
              <c:idx val="2"/>
              <c:tx>
                <c:rich>
                  <a:bodyPr/>
                  <a:lstStyle/>
                  <a:p>
                    <a:r>
                      <a:t>50.81</a:t>
                    </a:r>
                  </a:p>
                </c:rich>
              </c:tx>
              <c:dLblPos val="t"/>
              <c:showLegendKey val="0"/>
              <c:showVal val="1"/>
              <c:showCatName val="0"/>
              <c:showSerName val="0"/>
              <c:showPercent val="0"/>
              <c:showBubbleSize val="0"/>
            </c:dLbl>
            <c:dLbl>
              <c:idx val="3"/>
              <c:tx>
                <c:rich>
                  <a:bodyPr/>
                  <a:lstStyle/>
                  <a:p>
                    <a:r>
                      <a:t>54.11</a:t>
                    </a:r>
                  </a:p>
                </c:rich>
              </c:tx>
              <c:dLblPos val="t"/>
              <c:showLegendKey val="0"/>
              <c:showVal val="1"/>
              <c:showCatName val="0"/>
              <c:showSerName val="0"/>
              <c:showPercent val="0"/>
              <c:showBubbleSize val="0"/>
            </c:dLbl>
            <c:dLbl>
              <c:idx val="4"/>
              <c:tx>
                <c:rich>
                  <a:bodyPr/>
                  <a:lstStyle/>
                  <a:p>
                    <a:r>
                      <a:t>55.95</a:t>
                    </a:r>
                  </a:p>
                </c:rich>
              </c:tx>
              <c:dLblPos val="t"/>
              <c:showLegendKey val="0"/>
              <c:showVal val="1"/>
              <c:showCatName val="0"/>
              <c:showSerName val="0"/>
              <c:showPercent val="0"/>
              <c:showBubbleSize val="0"/>
            </c:dLbl>
            <c:dLbl>
              <c:idx val="5"/>
              <c:tx>
                <c:rich>
                  <a:bodyPr/>
                  <a:lstStyle/>
                  <a:p>
                    <a:r>
                      <a:t>54.52</a:t>
                    </a:r>
                  </a:p>
                </c:rich>
              </c:tx>
              <c:dLblPos val="t"/>
              <c:showLegendKey val="0"/>
              <c:showVal val="1"/>
              <c:showCatName val="0"/>
              <c:showSerName val="0"/>
              <c:showPercent val="0"/>
              <c:showBubbleSize val="0"/>
            </c:dLbl>
            <c:dLbl>
              <c:idx val="6"/>
              <c:tx>
                <c:rich>
                  <a:bodyPr/>
                  <a:lstStyle/>
                  <a:p>
                    <a:r>
                      <a:t>51.82</a:t>
                    </a:r>
                  </a:p>
                </c:rich>
              </c:tx>
              <c:dLblPos val="t"/>
              <c:showLegendKey val="0"/>
              <c:showVal val="1"/>
              <c:showCatName val="0"/>
              <c:showSerName val="0"/>
              <c:showPercent val="0"/>
              <c:showBubbleSize val="0"/>
            </c:dLbl>
            <c:dLbl>
              <c:idx val="7"/>
              <c:tx>
                <c:rich>
                  <a:bodyPr/>
                  <a:lstStyle/>
                  <a:p>
                    <a:r>
                      <a:t>51.90</a:t>
                    </a:r>
                  </a:p>
                </c:rich>
              </c:tx>
              <c:dLblPos val="t"/>
              <c:showLegendKey val="0"/>
              <c:showVal val="1"/>
              <c:showCatName val="0"/>
              <c:showSerName val="0"/>
              <c:showPercent val="0"/>
              <c:showBubbleSize val="0"/>
            </c:dLbl>
            <c:dLbl>
              <c:idx val="8"/>
              <c:tx>
                <c:rich>
                  <a:bodyPr/>
                  <a:lstStyle/>
                  <a:p>
                    <a:r>
                      <a:t>51.92</a:t>
                    </a:r>
                  </a:p>
                </c:rich>
              </c:tx>
              <c:dLblPos val="t"/>
              <c:showLegendKey val="0"/>
              <c:showVal val="1"/>
              <c:showCatName val="0"/>
              <c:showSerName val="0"/>
              <c:showPercent val="0"/>
              <c:showBubbleSize val="0"/>
            </c:dLbl>
            <c:dLbl>
              <c:idx val="9"/>
              <c:tx>
                <c:rich>
                  <a:bodyPr/>
                  <a:lstStyle/>
                  <a:p>
                    <a:r>
                      <a:t>54.4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6.3617</c:v>
                </c:pt>
                <c:pt idx="1">
                  <c:v>52.0747</c:v>
                </c:pt>
                <c:pt idx="2">
                  <c:v>50.8096</c:v>
                </c:pt>
                <c:pt idx="3">
                  <c:v>54.1076</c:v>
                </c:pt>
                <c:pt idx="4">
                  <c:v>55.9523</c:v>
                </c:pt>
                <c:pt idx="5">
                  <c:v>54.5163</c:v>
                </c:pt>
                <c:pt idx="6">
                  <c:v>51.8184</c:v>
                </c:pt>
                <c:pt idx="7">
                  <c:v>51.8995</c:v>
                </c:pt>
                <c:pt idx="8">
                  <c:v>51.923</c:v>
                </c:pt>
                <c:pt idx="9">
                  <c:v>54.43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2</a:t>
                    </a:r>
                  </a:p>
                </c:rich>
              </c:tx>
              <c:dLblPos val="ctr"/>
              <c:showLegendKey val="0"/>
              <c:showVal val="1"/>
              <c:showCatName val="0"/>
              <c:showSerName val="0"/>
              <c:showPercent val="0"/>
              <c:showBubbleSize val="0"/>
            </c:dLbl>
            <c:dLbl>
              <c:idx val="9"/>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51774885245448</c:v>
                </c:pt>
                <c:pt idx="1">
                  <c:v>0.8686684676202538</c:v>
                </c:pt>
                <c:pt idx="2">
                  <c:v>0.8798582287037948</c:v>
                </c:pt>
                <c:pt idx="3">
                  <c:v>0.8791002229685868</c:v>
                </c:pt>
                <c:pt idx="4">
                  <c:v>0.8673557432081122</c:v>
                </c:pt>
                <c:pt idx="5">
                  <c:v>0.8940508518436487</c:v>
                </c:pt>
                <c:pt idx="6">
                  <c:v>0.9221349302596337</c:v>
                </c:pt>
                <c:pt idx="7">
                  <c:v>0.8967943402021944</c:v>
                </c:pt>
                <c:pt idx="8">
                  <c:v>0.917203435588733</c:v>
                </c:pt>
                <c:pt idx="9">
                  <c:v>0.86709289454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2.883031</c:v>
                </c:pt>
                <c:pt idx="1">
                  <c:v>1.425828</c:v>
                </c:pt>
                <c:pt idx="2">
                  <c:v>0.55233</c:v>
                </c:pt>
                <c:pt idx="3">
                  <c:v>0.351913</c:v>
                </c:pt>
                <c:pt idx="4">
                  <c:v>0.176492</c:v>
                </c:pt>
                <c:pt idx="5">
                  <c:v>0.1057</c:v>
                </c:pt>
                <c:pt idx="6">
                  <c:v>0.103497</c:v>
                </c:pt>
                <c:pt idx="7">
                  <c:v>0.087594</c:v>
                </c:pt>
                <c:pt idx="8">
                  <c:v>0.052787</c:v>
                </c:pt>
                <c:pt idx="9">
                  <c:v>0.0329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4</a:t>
                    </a:r>
                  </a:p>
                </c:rich>
              </c:tx>
              <c:dLblPos val="t"/>
              <c:showLegendKey val="0"/>
              <c:showVal val="1"/>
              <c:showCatName val="0"/>
              <c:showSerName val="0"/>
              <c:showPercent val="0"/>
              <c:showBubbleSize val="0"/>
            </c:dLbl>
            <c:dLbl>
              <c:idx val="1"/>
              <c:tx>
                <c:rich>
                  <a:bodyPr/>
                  <a:lstStyle/>
                  <a:p>
                    <a:r>
                      <a:t>40.03</a:t>
                    </a:r>
                  </a:p>
                </c:rich>
              </c:tx>
              <c:dLblPos val="t"/>
              <c:showLegendKey val="0"/>
              <c:showVal val="1"/>
              <c:showCatName val="0"/>
              <c:showSerName val="0"/>
              <c:showPercent val="0"/>
              <c:showBubbleSize val="0"/>
            </c:dLbl>
            <c:dLbl>
              <c:idx val="2"/>
              <c:tx>
                <c:rich>
                  <a:bodyPr/>
                  <a:lstStyle/>
                  <a:p>
                    <a:r>
                      <a:t>39.74</a:t>
                    </a:r>
                  </a:p>
                </c:rich>
              </c:tx>
              <c:dLblPos val="t"/>
              <c:showLegendKey val="0"/>
              <c:showVal val="1"/>
              <c:showCatName val="0"/>
              <c:showSerName val="0"/>
              <c:showPercent val="0"/>
              <c:showBubbleSize val="0"/>
            </c:dLbl>
            <c:dLbl>
              <c:idx val="3"/>
              <c:tx>
                <c:rich>
                  <a:bodyPr/>
                  <a:lstStyle/>
                  <a:p>
                    <a:r>
                      <a:t>40.27</a:t>
                    </a:r>
                  </a:p>
                </c:rich>
              </c:tx>
              <c:dLblPos val="t"/>
              <c:showLegendKey val="0"/>
              <c:showVal val="1"/>
              <c:showCatName val="0"/>
              <c:showSerName val="0"/>
              <c:showPercent val="0"/>
              <c:showBubbleSize val="0"/>
            </c:dLbl>
            <c:dLbl>
              <c:idx val="4"/>
              <c:tx>
                <c:rich>
                  <a:bodyPr/>
                  <a:lstStyle/>
                  <a:p>
                    <a:r>
                      <a:t>40.24</a:t>
                    </a:r>
                  </a:p>
                </c:rich>
              </c:tx>
              <c:dLblPos val="t"/>
              <c:showLegendKey val="0"/>
              <c:showVal val="1"/>
              <c:showCatName val="0"/>
              <c:showSerName val="0"/>
              <c:showPercent val="0"/>
              <c:showBubbleSize val="0"/>
            </c:dLbl>
            <c:dLbl>
              <c:idx val="5"/>
              <c:tx>
                <c:rich>
                  <a:bodyPr/>
                  <a:lstStyle/>
                  <a:p>
                    <a:r>
                      <a:t>39.90</a:t>
                    </a:r>
                  </a:p>
                </c:rich>
              </c:tx>
              <c:dLblPos val="t"/>
              <c:showLegendKey val="0"/>
              <c:showVal val="1"/>
              <c:showCatName val="0"/>
              <c:showSerName val="0"/>
              <c:showPercent val="0"/>
              <c:showBubbleSize val="0"/>
            </c:dLbl>
            <c:dLbl>
              <c:idx val="6"/>
              <c:tx>
                <c:rich>
                  <a:bodyPr/>
                  <a:lstStyle/>
                  <a:p>
                    <a:r>
                      <a:t>39.79</a:t>
                    </a:r>
                  </a:p>
                </c:rich>
              </c:tx>
              <c:dLblPos val="t"/>
              <c:showLegendKey val="0"/>
              <c:showVal val="1"/>
              <c:showCatName val="0"/>
              <c:showSerName val="0"/>
              <c:showPercent val="0"/>
              <c:showBubbleSize val="0"/>
            </c:dLbl>
            <c:dLbl>
              <c:idx val="7"/>
              <c:tx>
                <c:rich>
                  <a:bodyPr/>
                  <a:lstStyle/>
                  <a:p>
                    <a:r>
                      <a:t>39.82</a:t>
                    </a:r>
                  </a:p>
                </c:rich>
              </c:tx>
              <c:dLblPos val="t"/>
              <c:showLegendKey val="0"/>
              <c:showVal val="1"/>
              <c:showCatName val="0"/>
              <c:showSerName val="0"/>
              <c:showPercent val="0"/>
              <c:showBubbleSize val="0"/>
            </c:dLbl>
            <c:dLbl>
              <c:idx val="8"/>
              <c:tx>
                <c:rich>
                  <a:bodyPr/>
                  <a:lstStyle/>
                  <a:p>
                    <a:r>
                      <a:t>40.05</a:t>
                    </a:r>
                  </a:p>
                </c:rich>
              </c:tx>
              <c:dLblPos val="t"/>
              <c:showLegendKey val="0"/>
              <c:showVal val="1"/>
              <c:showCatName val="0"/>
              <c:showSerName val="0"/>
              <c:showPercent val="0"/>
              <c:showBubbleSize val="0"/>
            </c:dLbl>
            <c:dLbl>
              <c:idx val="9"/>
              <c:tx>
                <c:rich>
                  <a:bodyPr/>
                  <a:lstStyle/>
                  <a:p>
                    <a:r>
                      <a:t>39.7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C$2:$C$11</c:f>
              <c:numCache>
                <c:formatCode>General</c:formatCode>
                <c:ptCount val="10"/>
                <c:pt idx="0">
                  <c:v>39.9367</c:v>
                </c:pt>
                <c:pt idx="1">
                  <c:v>40.0255</c:v>
                </c:pt>
                <c:pt idx="2">
                  <c:v>39.7417</c:v>
                </c:pt>
                <c:pt idx="3">
                  <c:v>40.2739</c:v>
                </c:pt>
                <c:pt idx="4">
                  <c:v>40.2399</c:v>
                </c:pt>
                <c:pt idx="5">
                  <c:v>39.9018</c:v>
                </c:pt>
                <c:pt idx="6">
                  <c:v>39.7912</c:v>
                </c:pt>
                <c:pt idx="7">
                  <c:v>39.8155</c:v>
                </c:pt>
                <c:pt idx="8">
                  <c:v>40.0508</c:v>
                </c:pt>
                <c:pt idx="9">
                  <c:v>39.77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2</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3</a:t>
                    </a:r>
                  </a:p>
                </c:rich>
              </c:tx>
              <c:dLblPos val="ctr"/>
              <c:showLegendKey val="0"/>
              <c:showVal val="1"/>
              <c:showCatName val="0"/>
              <c:showSerName val="0"/>
              <c:showPercent val="0"/>
              <c:showBubbleSize val="0"/>
            </c:dLbl>
            <c:dLbl>
              <c:idx val="3"/>
              <c:tx>
                <c:rich>
                  <a:bodyPr/>
                  <a:lstStyle/>
                  <a:p>
                    <a:r>
                      <a:t>9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dLbl>
              <c:idx val="5"/>
              <c:tx>
                <c:rich>
                  <a:bodyPr/>
                  <a:lstStyle/>
                  <a:p>
                    <a:r>
                      <a:t>85</a:t>
                    </a:r>
                  </a:p>
                </c:rich>
              </c:tx>
              <c:dLblPos val="ctr"/>
              <c:showLegendKey val="0"/>
              <c:showVal val="1"/>
              <c:showCatName val="0"/>
              <c:showSerName val="0"/>
              <c:showPercent val="0"/>
              <c:showBubbleSize val="0"/>
            </c:dLbl>
            <c:dLbl>
              <c:idx val="6"/>
              <c:tx>
                <c:rich>
                  <a:bodyPr/>
                  <a:lstStyle/>
                  <a:p>
                    <a:r>
                      <a:t>85</a:t>
                    </a:r>
                  </a:p>
                </c:rich>
              </c:tx>
              <c:dLblPos val="ctr"/>
              <c:showLegendKey val="0"/>
              <c:showVal val="1"/>
              <c:showCatName val="0"/>
              <c:showSerName val="0"/>
              <c:showPercent val="0"/>
              <c:showBubbleSize val="0"/>
            </c:dLbl>
            <c:dLbl>
              <c:idx val="7"/>
              <c:tx>
                <c:rich>
                  <a:bodyPr/>
                  <a:lstStyle/>
                  <a:p>
                    <a:r>
                      <a:t>78</a:t>
                    </a:r>
                  </a:p>
                </c:rich>
              </c:tx>
              <c:dLblPos val="ctr"/>
              <c:showLegendKey val="0"/>
              <c:showVal val="1"/>
              <c:showCatName val="0"/>
              <c:showSerName val="0"/>
              <c:showPercent val="0"/>
              <c:showBubbleSize val="0"/>
            </c:dLbl>
            <c:dLbl>
              <c:idx val="8"/>
              <c:tx>
                <c:rich>
                  <a:bodyPr/>
                  <a:lstStyle/>
                  <a:p>
                    <a:r>
                      <a:t>82</a:t>
                    </a:r>
                  </a:p>
                </c:rich>
              </c:tx>
              <c:dLblPos val="ctr"/>
              <c:showLegendKey val="0"/>
              <c:showVal val="1"/>
              <c:showCatName val="0"/>
              <c:showSerName val="0"/>
              <c:showPercent val="0"/>
              <c:showBubbleSize val="0"/>
            </c:dLbl>
            <c:dLbl>
              <c:idx val="9"/>
              <c:tx>
                <c:rich>
                  <a:bodyPr/>
                  <a:lstStyle/>
                  <a:p>
                    <a:r>
                      <a:t>9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0.9182636308766409</c:v>
                </c:pt>
                <c:pt idx="1">
                  <c:v>0.8490811428843658</c:v>
                </c:pt>
                <c:pt idx="2">
                  <c:v>0.8332315044872578</c:v>
                </c:pt>
                <c:pt idx="3">
                  <c:v>0.9069268197140412</c:v>
                </c:pt>
                <c:pt idx="4">
                  <c:v>0.8306600399111412</c:v>
                </c:pt>
                <c:pt idx="5">
                  <c:v>0.8531762046977157</c:v>
                </c:pt>
                <c:pt idx="6">
                  <c:v>0.8508537557855622</c:v>
                </c:pt>
                <c:pt idx="7">
                  <c:v>0.7789387566361058</c:v>
                </c:pt>
                <c:pt idx="8">
                  <c:v>0.8235743817770497</c:v>
                </c:pt>
                <c:pt idx="9">
                  <c:v>0.92011050032089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165.128378</c:v>
                </c:pt>
                <c:pt idx="1">
                  <c:v>46.910251</c:v>
                </c:pt>
                <c:pt idx="2">
                  <c:v>6.669369</c:v>
                </c:pt>
                <c:pt idx="3">
                  <c:v>3.829645</c:v>
                </c:pt>
                <c:pt idx="4">
                  <c:v>1.994689</c:v>
                </c:pt>
                <c:pt idx="5">
                  <c:v>1.831067</c:v>
                </c:pt>
                <c:pt idx="6">
                  <c:v>1.676462</c:v>
                </c:pt>
                <c:pt idx="7">
                  <c:v>1.321629</c:v>
                </c:pt>
                <c:pt idx="8">
                  <c:v>1.155874</c:v>
                </c:pt>
                <c:pt idx="9">
                  <c:v>0.830018</c:v>
                </c:pt>
                <c:pt idx="10">
                  <c:v>0.79364</c:v>
                </c:pt>
                <c:pt idx="11">
                  <c:v>0.496608</c:v>
                </c:pt>
                <c:pt idx="12">
                  <c:v>0.42116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8</a:t>
                    </a:r>
                  </a:p>
                </c:rich>
              </c:tx>
              <c:dLblPos val="t"/>
              <c:showLegendKey val="0"/>
              <c:showVal val="1"/>
              <c:showCatName val="0"/>
              <c:showSerName val="0"/>
              <c:showPercent val="0"/>
              <c:showBubbleSize val="0"/>
            </c:dLbl>
            <c:dLbl>
              <c:idx val="1"/>
              <c:tx>
                <c:rich>
                  <a:bodyPr/>
                  <a:lstStyle/>
                  <a:p>
                    <a:r>
                      <a:t>48.27</a:t>
                    </a:r>
                  </a:p>
                </c:rich>
              </c:tx>
              <c:dLblPos val="t"/>
              <c:showLegendKey val="0"/>
              <c:showVal val="1"/>
              <c:showCatName val="0"/>
              <c:showSerName val="0"/>
              <c:showPercent val="0"/>
              <c:showBubbleSize val="0"/>
            </c:dLbl>
            <c:dLbl>
              <c:idx val="2"/>
              <c:tx>
                <c:rich>
                  <a:bodyPr/>
                  <a:lstStyle/>
                  <a:p>
                    <a:r>
                      <a:t>50.93</a:t>
                    </a:r>
                  </a:p>
                </c:rich>
              </c:tx>
              <c:dLblPos val="t"/>
              <c:showLegendKey val="0"/>
              <c:showVal val="1"/>
              <c:showCatName val="0"/>
              <c:showSerName val="0"/>
              <c:showPercent val="0"/>
              <c:showBubbleSize val="0"/>
            </c:dLbl>
            <c:dLbl>
              <c:idx val="3"/>
              <c:tx>
                <c:rich>
                  <a:bodyPr/>
                  <a:lstStyle/>
                  <a:p>
                    <a:r>
                      <a:t>46.14</a:t>
                    </a:r>
                  </a:p>
                </c:rich>
              </c:tx>
              <c:dLblPos val="t"/>
              <c:showLegendKey val="0"/>
              <c:showVal val="1"/>
              <c:showCatName val="0"/>
              <c:showSerName val="0"/>
              <c:showPercent val="0"/>
              <c:showBubbleSize val="0"/>
            </c:dLbl>
            <c:dLbl>
              <c:idx val="4"/>
              <c:tx>
                <c:rich>
                  <a:bodyPr/>
                  <a:lstStyle/>
                  <a:p>
                    <a:r>
                      <a:t>44.62</a:t>
                    </a:r>
                  </a:p>
                </c:rich>
              </c:tx>
              <c:dLblPos val="t"/>
              <c:showLegendKey val="0"/>
              <c:showVal val="1"/>
              <c:showCatName val="0"/>
              <c:showSerName val="0"/>
              <c:showPercent val="0"/>
              <c:showBubbleSize val="0"/>
            </c:dLbl>
            <c:dLbl>
              <c:idx val="5"/>
              <c:tx>
                <c:rich>
                  <a:bodyPr/>
                  <a:lstStyle/>
                  <a:p>
                    <a:r>
                      <a:t>41.24</a:t>
                    </a:r>
                  </a:p>
                </c:rich>
              </c:tx>
              <c:dLblPos val="t"/>
              <c:showLegendKey val="0"/>
              <c:showVal val="1"/>
              <c:showCatName val="0"/>
              <c:showSerName val="0"/>
              <c:showPercent val="0"/>
              <c:showBubbleSize val="0"/>
            </c:dLbl>
            <c:dLbl>
              <c:idx val="6"/>
              <c:tx>
                <c:rich>
                  <a:bodyPr/>
                  <a:lstStyle/>
                  <a:p>
                    <a:r>
                      <a:t>45.60</a:t>
                    </a:r>
                  </a:p>
                </c:rich>
              </c:tx>
              <c:dLblPos val="t"/>
              <c:showLegendKey val="0"/>
              <c:showVal val="1"/>
              <c:showCatName val="0"/>
              <c:showSerName val="0"/>
              <c:showPercent val="0"/>
              <c:showBubbleSize val="0"/>
            </c:dLbl>
            <c:dLbl>
              <c:idx val="7"/>
              <c:tx>
                <c:rich>
                  <a:bodyPr/>
                  <a:lstStyle/>
                  <a:p>
                    <a:r>
                      <a:t>46.69</a:t>
                    </a:r>
                  </a:p>
                </c:rich>
              </c:tx>
              <c:dLblPos val="t"/>
              <c:showLegendKey val="0"/>
              <c:showVal val="1"/>
              <c:showCatName val="0"/>
              <c:showSerName val="0"/>
              <c:showPercent val="0"/>
              <c:showBubbleSize val="0"/>
            </c:dLbl>
            <c:dLbl>
              <c:idx val="8"/>
              <c:tx>
                <c:rich>
                  <a:bodyPr/>
                  <a:lstStyle/>
                  <a:p>
                    <a:r>
                      <a:t>43.45</a:t>
                    </a:r>
                  </a:p>
                </c:rich>
              </c:tx>
              <c:dLblPos val="t"/>
              <c:showLegendKey val="0"/>
              <c:showVal val="1"/>
              <c:showCatName val="0"/>
              <c:showSerName val="0"/>
              <c:showPercent val="0"/>
              <c:showBubbleSize val="0"/>
            </c:dLbl>
            <c:dLbl>
              <c:idx val="9"/>
              <c:tx>
                <c:rich>
                  <a:bodyPr/>
                  <a:lstStyle/>
                  <a:p>
                    <a:r>
                      <a:t>38.61</a:t>
                    </a:r>
                  </a:p>
                </c:rich>
              </c:tx>
              <c:dLblPos val="t"/>
              <c:showLegendKey val="0"/>
              <c:showVal val="1"/>
              <c:showCatName val="0"/>
              <c:showSerName val="0"/>
              <c:showPercent val="0"/>
              <c:showBubbleSize val="0"/>
            </c:dLbl>
            <c:dLbl>
              <c:idx val="10"/>
              <c:tx>
                <c:rich>
                  <a:bodyPr/>
                  <a:lstStyle/>
                  <a:p>
                    <a:r>
                      <a:t>39.46</a:t>
                    </a:r>
                  </a:p>
                </c:rich>
              </c:tx>
              <c:dLblPos val="t"/>
              <c:showLegendKey val="0"/>
              <c:showVal val="1"/>
              <c:showCatName val="0"/>
              <c:showSerName val="0"/>
              <c:showPercent val="0"/>
              <c:showBubbleSize val="0"/>
            </c:dLbl>
            <c:dLbl>
              <c:idx val="11"/>
              <c:tx>
                <c:rich>
                  <a:bodyPr/>
                  <a:lstStyle/>
                  <a:p>
                    <a:r>
                      <a:t>35.28</a:t>
                    </a:r>
                  </a:p>
                </c:rich>
              </c:tx>
              <c:dLblPos val="t"/>
              <c:showLegendKey val="0"/>
              <c:showVal val="1"/>
              <c:showCatName val="0"/>
              <c:showSerName val="0"/>
              <c:showPercent val="0"/>
              <c:showBubbleSize val="0"/>
            </c:dLbl>
            <c:dLbl>
              <c:idx val="12"/>
              <c:tx>
                <c:rich>
                  <a:bodyPr/>
                  <a:lstStyle/>
                  <a:p>
                    <a:r>
                      <a:t>44.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8.4795</c:v>
                </c:pt>
                <c:pt idx="1">
                  <c:v>48.265</c:v>
                </c:pt>
                <c:pt idx="2">
                  <c:v>50.9326</c:v>
                </c:pt>
                <c:pt idx="3">
                  <c:v>46.1397</c:v>
                </c:pt>
                <c:pt idx="4">
                  <c:v>44.6229</c:v>
                </c:pt>
                <c:pt idx="5">
                  <c:v>41.243</c:v>
                </c:pt>
                <c:pt idx="6">
                  <c:v>45.5969</c:v>
                </c:pt>
                <c:pt idx="7">
                  <c:v>46.6941</c:v>
                </c:pt>
                <c:pt idx="8">
                  <c:v>43.4539</c:v>
                </c:pt>
                <c:pt idx="9">
                  <c:v>38.6127</c:v>
                </c:pt>
                <c:pt idx="10">
                  <c:v>39.4649</c:v>
                </c:pt>
                <c:pt idx="11">
                  <c:v>35.283</c:v>
                </c:pt>
                <c:pt idx="12">
                  <c:v>44.2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3</a:t>
                    </a:r>
                  </a:p>
                </c:rich>
              </c:tx>
              <c:dLblPos val="ctr"/>
              <c:showLegendKey val="0"/>
              <c:showVal val="1"/>
              <c:showCatName val="0"/>
              <c:showSerName val="0"/>
              <c:showPercent val="0"/>
              <c:showBubbleSize val="0"/>
            </c:dLbl>
            <c:dLbl>
              <c:idx val="6"/>
              <c:tx>
                <c:rich>
                  <a:bodyPr/>
                  <a:lstStyle/>
                  <a:p>
                    <a:r>
                      <a:t>88</a:t>
                    </a:r>
                  </a:p>
                </c:rich>
              </c:tx>
              <c:dLblPos val="ctr"/>
              <c:showLegendKey val="0"/>
              <c:showVal val="1"/>
              <c:showCatName val="0"/>
              <c:showSerName val="0"/>
              <c:showPercent val="0"/>
              <c:showBubbleSize val="0"/>
            </c:dLbl>
            <c:dLbl>
              <c:idx val="7"/>
              <c:tx>
                <c:rich>
                  <a:bodyPr/>
                  <a:lstStyle/>
                  <a:p>
                    <a:r>
                      <a:t>89</a:t>
                    </a:r>
                  </a:p>
                </c:rich>
              </c:tx>
              <c:dLblPos val="ctr"/>
              <c:showLegendKey val="0"/>
              <c:showVal val="1"/>
              <c:showCatName val="0"/>
              <c:showSerName val="0"/>
              <c:showPercent val="0"/>
              <c:showBubbleSize val="0"/>
            </c:dLbl>
            <c:dLbl>
              <c:idx val="8"/>
              <c:tx>
                <c:rich>
                  <a:bodyPr/>
                  <a:lstStyle/>
                  <a:p>
                    <a:r>
                      <a:t>89</a:t>
                    </a:r>
                  </a:p>
                </c:rich>
              </c:tx>
              <c:dLblPos val="ctr"/>
              <c:showLegendKey val="0"/>
              <c:showVal val="1"/>
              <c:showCatName val="0"/>
              <c:showSerName val="0"/>
              <c:showPercent val="0"/>
              <c:showBubbleSize val="0"/>
            </c:dLbl>
            <c:dLbl>
              <c:idx val="9"/>
              <c:tx>
                <c:rich>
                  <a:bodyPr/>
                  <a:lstStyle/>
                  <a:p>
                    <a:r>
                      <a:t>85</a:t>
                    </a:r>
                  </a:p>
                </c:rich>
              </c:tx>
              <c:dLblPos val="ctr"/>
              <c:showLegendKey val="0"/>
              <c:showVal val="1"/>
              <c:showCatName val="0"/>
              <c:showSerName val="0"/>
              <c:showPercent val="0"/>
              <c:showBubbleSize val="0"/>
            </c:dLbl>
            <c:dLbl>
              <c:idx val="10"/>
              <c:tx>
                <c:rich>
                  <a:bodyPr/>
                  <a:lstStyle/>
                  <a:p>
                    <a:r>
                      <a:t>80</a:t>
                    </a:r>
                  </a:p>
                </c:rich>
              </c:tx>
              <c:dLblPos val="ctr"/>
              <c:showLegendKey val="0"/>
              <c:showVal val="1"/>
              <c:showCatName val="0"/>
              <c:showSerName val="0"/>
              <c:showPercent val="0"/>
              <c:showBubbleSize val="0"/>
            </c:dLbl>
            <c:dLbl>
              <c:idx val="11"/>
              <c:tx>
                <c:rich>
                  <a:bodyPr/>
                  <a:lstStyle/>
                  <a:p>
                    <a:r>
                      <a:t>88</a:t>
                    </a:r>
                  </a:p>
                </c:rich>
              </c:tx>
              <c:dLblPos val="ctr"/>
              <c:showLegendKey val="0"/>
              <c:showVal val="1"/>
              <c:showCatName val="0"/>
              <c:showSerName val="0"/>
              <c:showPercent val="0"/>
              <c:showBubbleSize val="0"/>
            </c:dLbl>
            <c:dLbl>
              <c:idx val="12"/>
              <c:tx>
                <c:rich>
                  <a:bodyPr/>
                  <a:lstStyle/>
                  <a:p>
                    <a:r>
                      <a:t>7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673741601050497</c:v>
                </c:pt>
                <c:pt idx="1">
                  <c:v>0.8580917075437894</c:v>
                </c:pt>
                <c:pt idx="2">
                  <c:v>0.9030530277683259</c:v>
                </c:pt>
                <c:pt idx="3">
                  <c:v>0.8611180191820015</c:v>
                </c:pt>
                <c:pt idx="4">
                  <c:v>0.897237472139694</c:v>
                </c:pt>
                <c:pt idx="5">
                  <c:v>0.9330192130721858</c:v>
                </c:pt>
                <c:pt idx="6">
                  <c:v>0.8754302185622567</c:v>
                </c:pt>
                <c:pt idx="7">
                  <c:v>0.8892122140198562</c:v>
                </c:pt>
                <c:pt idx="8">
                  <c:v>0.894112678213529</c:v>
                </c:pt>
                <c:pt idx="9">
                  <c:v>0.8461438087063251</c:v>
                </c:pt>
                <c:pt idx="10">
                  <c:v>0.8000443550622734</c:v>
                </c:pt>
                <c:pt idx="11">
                  <c:v>0.8845948314558707</c:v>
                </c:pt>
                <c:pt idx="12">
                  <c:v>0.778813117397527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567.142783</c:v>
                </c:pt>
                <c:pt idx="1">
                  <c:v>43.684616</c:v>
                </c:pt>
                <c:pt idx="2">
                  <c:v>6.26913</c:v>
                </c:pt>
                <c:pt idx="3">
                  <c:v>3.490185</c:v>
                </c:pt>
                <c:pt idx="4">
                  <c:v>1.844044</c:v>
                </c:pt>
                <c:pt idx="5">
                  <c:v>1.604073</c:v>
                </c:pt>
                <c:pt idx="6">
                  <c:v>1.554442</c:v>
                </c:pt>
                <c:pt idx="7">
                  <c:v>1.234371</c:v>
                </c:pt>
                <c:pt idx="8">
                  <c:v>1.052164</c:v>
                </c:pt>
                <c:pt idx="9">
                  <c:v>0.721285</c:v>
                </c:pt>
                <c:pt idx="10">
                  <c:v>0.687083</c:v>
                </c:pt>
                <c:pt idx="11">
                  <c:v>0.400577</c:v>
                </c:pt>
                <c:pt idx="12">
                  <c:v>0.35936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57.67</a:t>
                    </a:r>
                  </a:p>
                </c:rich>
              </c:tx>
              <c:dLblPos val="t"/>
              <c:showLegendKey val="0"/>
              <c:showVal val="1"/>
              <c:showCatName val="0"/>
              <c:showSerName val="0"/>
              <c:showPercent val="0"/>
              <c:showBubbleSize val="0"/>
            </c:dLbl>
            <c:dLbl>
              <c:idx val="2"/>
              <c:tx>
                <c:rich>
                  <a:bodyPr/>
                  <a:lstStyle/>
                  <a:p>
                    <a:r>
                      <a:t>60.73</a:t>
                    </a:r>
                  </a:p>
                </c:rich>
              </c:tx>
              <c:dLblPos val="t"/>
              <c:showLegendKey val="0"/>
              <c:showVal val="1"/>
              <c:showCatName val="0"/>
              <c:showSerName val="0"/>
              <c:showPercent val="0"/>
              <c:showBubbleSize val="0"/>
            </c:dLbl>
            <c:dLbl>
              <c:idx val="3"/>
              <c:tx>
                <c:rich>
                  <a:bodyPr/>
                  <a:lstStyle/>
                  <a:p>
                    <a:r>
                      <a:t>58.76</a:t>
                    </a:r>
                  </a:p>
                </c:rich>
              </c:tx>
              <c:dLblPos val="t"/>
              <c:showLegendKey val="0"/>
              <c:showVal val="1"/>
              <c:showCatName val="0"/>
              <c:showSerName val="0"/>
              <c:showPercent val="0"/>
              <c:showBubbleSize val="0"/>
            </c:dLbl>
            <c:dLbl>
              <c:idx val="4"/>
              <c:tx>
                <c:rich>
                  <a:bodyPr/>
                  <a:lstStyle/>
                  <a:p>
                    <a:r>
                      <a:t>54.08</a:t>
                    </a:r>
                  </a:p>
                </c:rich>
              </c:tx>
              <c:dLblPos val="t"/>
              <c:showLegendKey val="0"/>
              <c:showVal val="1"/>
              <c:showCatName val="0"/>
              <c:showSerName val="0"/>
              <c:showPercent val="0"/>
              <c:showBubbleSize val="0"/>
            </c:dLbl>
            <c:dLbl>
              <c:idx val="5"/>
              <c:tx>
                <c:rich>
                  <a:bodyPr/>
                  <a:lstStyle/>
                  <a:p>
                    <a:r>
                      <a:t>53.49</a:t>
                    </a:r>
                  </a:p>
                </c:rich>
              </c:tx>
              <c:dLblPos val="t"/>
              <c:showLegendKey val="0"/>
              <c:showVal val="1"/>
              <c:showCatName val="0"/>
              <c:showSerName val="0"/>
              <c:showPercent val="0"/>
              <c:showBubbleSize val="0"/>
            </c:dLbl>
            <c:dLbl>
              <c:idx val="6"/>
              <c:tx>
                <c:rich>
                  <a:bodyPr/>
                  <a:lstStyle/>
                  <a:p>
                    <a:r>
                      <a:t>54.93</a:t>
                    </a:r>
                  </a:p>
                </c:rich>
              </c:tx>
              <c:dLblPos val="t"/>
              <c:showLegendKey val="0"/>
              <c:showVal val="1"/>
              <c:showCatName val="0"/>
              <c:showSerName val="0"/>
              <c:showPercent val="0"/>
              <c:showBubbleSize val="0"/>
            </c:dLbl>
            <c:dLbl>
              <c:idx val="7"/>
              <c:tx>
                <c:rich>
                  <a:bodyPr/>
                  <a:lstStyle/>
                  <a:p>
                    <a:r>
                      <a:t>55.40</a:t>
                    </a:r>
                  </a:p>
                </c:rich>
              </c:tx>
              <c:dLblPos val="t"/>
              <c:showLegendKey val="0"/>
              <c:showVal val="1"/>
              <c:showCatName val="0"/>
              <c:showSerName val="0"/>
              <c:showPercent val="0"/>
              <c:showBubbleSize val="0"/>
            </c:dLbl>
            <c:dLbl>
              <c:idx val="8"/>
              <c:tx>
                <c:rich>
                  <a:bodyPr/>
                  <a:lstStyle/>
                  <a:p>
                    <a:r>
                      <a:t>54.32</a:t>
                    </a:r>
                  </a:p>
                </c:rich>
              </c:tx>
              <c:dLblPos val="t"/>
              <c:showLegendKey val="0"/>
              <c:showVal val="1"/>
              <c:showCatName val="0"/>
              <c:showSerName val="0"/>
              <c:showPercent val="0"/>
              <c:showBubbleSize val="0"/>
            </c:dLbl>
            <c:dLbl>
              <c:idx val="9"/>
              <c:tx>
                <c:rich>
                  <a:bodyPr/>
                  <a:lstStyle/>
                  <a:p>
                    <a:r>
                      <a:t>52.32</a:t>
                    </a:r>
                  </a:p>
                </c:rich>
              </c:tx>
              <c:dLblPos val="t"/>
              <c:showLegendKey val="0"/>
              <c:showVal val="1"/>
              <c:showCatName val="0"/>
              <c:showSerName val="0"/>
              <c:showPercent val="0"/>
              <c:showBubbleSize val="0"/>
            </c:dLbl>
            <c:dLbl>
              <c:idx val="10"/>
              <c:tx>
                <c:rich>
                  <a:bodyPr/>
                  <a:lstStyle/>
                  <a:p>
                    <a:r>
                      <a:t>54.36</a:t>
                    </a:r>
                  </a:p>
                </c:rich>
              </c:tx>
              <c:dLblPos val="t"/>
              <c:showLegendKey val="0"/>
              <c:showVal val="1"/>
              <c:showCatName val="0"/>
              <c:showSerName val="0"/>
              <c:showPercent val="0"/>
              <c:showBubbleSize val="0"/>
            </c:dLbl>
            <c:dLbl>
              <c:idx val="11"/>
              <c:tx>
                <c:rich>
                  <a:bodyPr/>
                  <a:lstStyle/>
                  <a:p>
                    <a:r>
                      <a:t>55.89</a:t>
                    </a:r>
                  </a:p>
                </c:rich>
              </c:tx>
              <c:dLblPos val="t"/>
              <c:showLegendKey val="0"/>
              <c:showVal val="1"/>
              <c:showCatName val="0"/>
              <c:showSerName val="0"/>
              <c:showPercent val="0"/>
              <c:showBubbleSize val="0"/>
            </c:dLbl>
            <c:dLbl>
              <c:idx val="12"/>
              <c:tx>
                <c:rich>
                  <a:bodyPr/>
                  <a:lstStyle/>
                  <a:p>
                    <a:r>
                      <a:t>60.9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28.0685</c:v>
                </c:pt>
                <c:pt idx="1">
                  <c:v>57.672</c:v>
                </c:pt>
                <c:pt idx="2">
                  <c:v>60.7303</c:v>
                </c:pt>
                <c:pt idx="3">
                  <c:v>58.7623</c:v>
                </c:pt>
                <c:pt idx="4">
                  <c:v>54.0823</c:v>
                </c:pt>
                <c:pt idx="5">
                  <c:v>53.4887</c:v>
                </c:pt>
                <c:pt idx="6">
                  <c:v>54.9331</c:v>
                </c:pt>
                <c:pt idx="7">
                  <c:v>55.4002</c:v>
                </c:pt>
                <c:pt idx="8">
                  <c:v>54.3193</c:v>
                </c:pt>
                <c:pt idx="9">
                  <c:v>52.3163</c:v>
                </c:pt>
                <c:pt idx="10">
                  <c:v>54.3621</c:v>
                </c:pt>
                <c:pt idx="11">
                  <c:v>55.8919</c:v>
                </c:pt>
                <c:pt idx="12">
                  <c:v>60.970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8</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dLbl>
              <c:idx val="10"/>
              <c:tx>
                <c:rich>
                  <a:bodyPr/>
                  <a:lstStyle/>
                  <a:p>
                    <a:r>
                      <a:t>79</a:t>
                    </a:r>
                  </a:p>
                </c:rich>
              </c:tx>
              <c:dLblPos val="ctr"/>
              <c:showLegendKey val="0"/>
              <c:showVal val="1"/>
              <c:showCatName val="0"/>
              <c:showSerName val="0"/>
              <c:showPercent val="0"/>
              <c:showBubbleSize val="0"/>
            </c:dLbl>
            <c:dLbl>
              <c:idx val="11"/>
              <c:tx>
                <c:rich>
                  <a:bodyPr/>
                  <a:lstStyle/>
                  <a:p>
                    <a:r>
                      <a:t>86</a:t>
                    </a:r>
                  </a:p>
                </c:rich>
              </c:tx>
              <c:dLblPos val="ctr"/>
              <c:showLegendKey val="0"/>
              <c:showVal val="1"/>
              <c:showCatName val="0"/>
              <c:showSerName val="0"/>
              <c:showPercent val="0"/>
              <c:showBubbleSize val="0"/>
            </c:dLbl>
            <c:dLbl>
              <c:idx val="12"/>
              <c:tx>
                <c:rich>
                  <a:bodyPr/>
                  <a:lstStyle/>
                  <a:p>
                    <a:r>
                      <a:t>75</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443491786017833</c:v>
                </c:pt>
                <c:pt idx="1">
                  <c:v>0.8492666138743564</c:v>
                </c:pt>
                <c:pt idx="2">
                  <c:v>0.8994199872829902</c:v>
                </c:pt>
                <c:pt idx="3">
                  <c:v>0.8632031548526635</c:v>
                </c:pt>
                <c:pt idx="4">
                  <c:v>0.8904923377956687</c:v>
                </c:pt>
                <c:pt idx="5">
                  <c:v>0.922853743543482</c:v>
                </c:pt>
                <c:pt idx="6">
                  <c:v>0.8663922570792378</c:v>
                </c:pt>
                <c:pt idx="7">
                  <c:v>0.8805708436029777</c:v>
                </c:pt>
                <c:pt idx="8">
                  <c:v>0.8843312026962855</c:v>
                </c:pt>
                <c:pt idx="9">
                  <c:v>0.83479644686207</c:v>
                </c:pt>
                <c:pt idx="10">
                  <c:v>0.7851569552845993</c:v>
                </c:pt>
                <c:pt idx="11">
                  <c:v>0.8634111223911352</c:v>
                </c:pt>
                <c:pt idx="12">
                  <c:v>0.752439300161642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75.474501</c:v>
                </c:pt>
                <c:pt idx="1">
                  <c:v>29.035256</c:v>
                </c:pt>
                <c:pt idx="2">
                  <c:v>4.092007</c:v>
                </c:pt>
                <c:pt idx="3">
                  <c:v>2.362997</c:v>
                </c:pt>
                <c:pt idx="4">
                  <c:v>1.300615</c:v>
                </c:pt>
                <c:pt idx="5">
                  <c:v>1.080219</c:v>
                </c:pt>
                <c:pt idx="6">
                  <c:v>1.041515</c:v>
                </c:pt>
                <c:pt idx="7">
                  <c:v>0.836834</c:v>
                </c:pt>
                <c:pt idx="8">
                  <c:v>0.721228</c:v>
                </c:pt>
                <c:pt idx="9">
                  <c:v>0.501752</c:v>
                </c:pt>
                <c:pt idx="10">
                  <c:v>0.492101</c:v>
                </c:pt>
                <c:pt idx="11">
                  <c:v>0.287043</c:v>
                </c:pt>
                <c:pt idx="12">
                  <c:v>0.21209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75</a:t>
                    </a:r>
                  </a:p>
                </c:rich>
              </c:tx>
              <c:dLblPos val="t"/>
              <c:showLegendKey val="0"/>
              <c:showVal val="1"/>
              <c:showCatName val="0"/>
              <c:showSerName val="0"/>
              <c:showPercent val="0"/>
              <c:showBubbleSize val="0"/>
            </c:dLbl>
            <c:dLbl>
              <c:idx val="2"/>
              <c:tx>
                <c:rich>
                  <a:bodyPr/>
                  <a:lstStyle/>
                  <a:p>
                    <a:r>
                      <a:t>52.98</a:t>
                    </a:r>
                  </a:p>
                </c:rich>
              </c:tx>
              <c:dLblPos val="t"/>
              <c:showLegendKey val="0"/>
              <c:showVal val="1"/>
              <c:showCatName val="0"/>
              <c:showSerName val="0"/>
              <c:showPercent val="0"/>
              <c:showBubbleSize val="0"/>
            </c:dLbl>
            <c:dLbl>
              <c:idx val="3"/>
              <c:tx>
                <c:rich>
                  <a:bodyPr/>
                  <a:lstStyle/>
                  <a:p>
                    <a:r>
                      <a:t>53.69</a:t>
                    </a:r>
                  </a:p>
                </c:rich>
              </c:tx>
              <c:dLblPos val="t"/>
              <c:showLegendKey val="0"/>
              <c:showVal val="1"/>
              <c:showCatName val="0"/>
              <c:showSerName val="0"/>
              <c:showPercent val="0"/>
              <c:showBubbleSize val="0"/>
            </c:dLbl>
            <c:dLbl>
              <c:idx val="4"/>
              <c:tx>
                <c:rich>
                  <a:bodyPr/>
                  <a:lstStyle/>
                  <a:p>
                    <a:r>
                      <a:t>49.77</a:t>
                    </a:r>
                  </a:p>
                </c:rich>
              </c:tx>
              <c:dLblPos val="t"/>
              <c:showLegendKey val="0"/>
              <c:showVal val="1"/>
              <c:showCatName val="0"/>
              <c:showSerName val="0"/>
              <c:showPercent val="0"/>
              <c:showBubbleSize val="0"/>
            </c:dLbl>
            <c:dLbl>
              <c:idx val="5"/>
              <c:tx>
                <c:rich>
                  <a:bodyPr/>
                  <a:lstStyle/>
                  <a:p>
                    <a:r>
                      <a:t>50.74</a:t>
                    </a:r>
                  </a:p>
                </c:rich>
              </c:tx>
              <c:dLblPos val="t"/>
              <c:showLegendKey val="0"/>
              <c:showVal val="1"/>
              <c:showCatName val="0"/>
              <c:showSerName val="0"/>
              <c:showPercent val="0"/>
              <c:showBubbleSize val="0"/>
            </c:dLbl>
            <c:dLbl>
              <c:idx val="6"/>
              <c:tx>
                <c:rich>
                  <a:bodyPr/>
                  <a:lstStyle/>
                  <a:p>
                    <a:r>
                      <a:t>50.00</a:t>
                    </a:r>
                  </a:p>
                </c:rich>
              </c:tx>
              <c:dLblPos val="t"/>
              <c:showLegendKey val="0"/>
              <c:showVal val="1"/>
              <c:showCatName val="0"/>
              <c:showSerName val="0"/>
              <c:showPercent val="0"/>
              <c:showBubbleSize val="0"/>
            </c:dLbl>
            <c:dLbl>
              <c:idx val="7"/>
              <c:tx>
                <c:rich>
                  <a:bodyPr/>
                  <a:lstStyle/>
                  <a:p>
                    <a:r>
                      <a:t>50.10</a:t>
                    </a:r>
                  </a:p>
                </c:rich>
              </c:tx>
              <c:dLblPos val="t"/>
              <c:showLegendKey val="0"/>
              <c:showVal val="1"/>
              <c:showCatName val="0"/>
              <c:showSerName val="0"/>
              <c:showPercent val="0"/>
              <c:showBubbleSize val="0"/>
            </c:dLbl>
            <c:dLbl>
              <c:idx val="8"/>
              <c:tx>
                <c:rich>
                  <a:bodyPr/>
                  <a:lstStyle/>
                  <a:p>
                    <a:r>
                      <a:t>50.32</a:t>
                    </a:r>
                  </a:p>
                </c:rich>
              </c:tx>
              <c:dLblPos val="t"/>
              <c:showLegendKey val="0"/>
              <c:showVal val="1"/>
              <c:showCatName val="0"/>
              <c:showSerName val="0"/>
              <c:showPercent val="0"/>
              <c:showBubbleSize val="0"/>
            </c:dLbl>
            <c:dLbl>
              <c:idx val="9"/>
              <c:tx>
                <c:rich>
                  <a:bodyPr/>
                  <a:lstStyle/>
                  <a:p>
                    <a:r>
                      <a:t>49.62</a:t>
                    </a:r>
                  </a:p>
                </c:rich>
              </c:tx>
              <c:dLblPos val="t"/>
              <c:showLegendKey val="0"/>
              <c:showVal val="1"/>
              <c:showCatName val="0"/>
              <c:showSerName val="0"/>
              <c:showPercent val="0"/>
              <c:showBubbleSize val="0"/>
            </c:dLbl>
            <c:dLbl>
              <c:idx val="10"/>
              <c:tx>
                <c:rich>
                  <a:bodyPr/>
                  <a:lstStyle/>
                  <a:p>
                    <a:r>
                      <a:t>51.56</a:t>
                    </a:r>
                  </a:p>
                </c:rich>
              </c:tx>
              <c:dLblPos val="t"/>
              <c:showLegendKey val="0"/>
              <c:showVal val="1"/>
              <c:showCatName val="0"/>
              <c:showSerName val="0"/>
              <c:showPercent val="0"/>
              <c:showBubbleSize val="0"/>
            </c:dLbl>
            <c:dLbl>
              <c:idx val="11"/>
              <c:tx>
                <c:rich>
                  <a:bodyPr/>
                  <a:lstStyle/>
                  <a:p>
                    <a:r>
                      <a:t>53.28</a:t>
                    </a:r>
                  </a:p>
                </c:rich>
              </c:tx>
              <c:dLblPos val="t"/>
              <c:showLegendKey val="0"/>
              <c:showVal val="1"/>
              <c:showCatName val="0"/>
              <c:showSerName val="0"/>
              <c:showPercent val="0"/>
              <c:showBubbleSize val="0"/>
            </c:dLbl>
            <c:dLbl>
              <c:idx val="12"/>
              <c:tx>
                <c:rich>
                  <a:bodyPr/>
                  <a:lstStyle/>
                  <a:p>
                    <a:r>
                      <a:t>52.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26.3617</c:v>
                </c:pt>
                <c:pt idx="1">
                  <c:v>52.7466</c:v>
                </c:pt>
                <c:pt idx="2">
                  <c:v>52.9751</c:v>
                </c:pt>
                <c:pt idx="3">
                  <c:v>53.6935</c:v>
                </c:pt>
                <c:pt idx="4">
                  <c:v>49.7729</c:v>
                </c:pt>
                <c:pt idx="5">
                  <c:v>50.7431</c:v>
                </c:pt>
                <c:pt idx="6">
                  <c:v>49.9983</c:v>
                </c:pt>
                <c:pt idx="7">
                  <c:v>50.0978</c:v>
                </c:pt>
                <c:pt idx="8">
                  <c:v>50.3194</c:v>
                </c:pt>
                <c:pt idx="9">
                  <c:v>49.6195</c:v>
                </c:pt>
                <c:pt idx="10">
                  <c:v>51.5559</c:v>
                </c:pt>
                <c:pt idx="11">
                  <c:v>53.2844</c:v>
                </c:pt>
                <c:pt idx="12">
                  <c:v>52.52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86</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9</a:t>
                    </a:r>
                  </a:p>
                </c:rich>
              </c:tx>
              <c:dLblPos val="ctr"/>
              <c:showLegendKey val="0"/>
              <c:showVal val="1"/>
              <c:showCatName val="0"/>
              <c:showSerName val="0"/>
              <c:showPercent val="0"/>
              <c:showBubbleSize val="0"/>
            </c:dLbl>
            <c:dLbl>
              <c:idx val="9"/>
              <c:tx>
                <c:rich>
                  <a:bodyPr/>
                  <a:lstStyle/>
                  <a:p>
                    <a:r>
                      <a:t>84</a:t>
                    </a:r>
                  </a:p>
                </c:rich>
              </c:tx>
              <c:dLblPos val="ctr"/>
              <c:showLegendKey val="0"/>
              <c:showVal val="1"/>
              <c:showCatName val="0"/>
              <c:showSerName val="0"/>
              <c:showPercent val="0"/>
              <c:showBubbleSize val="0"/>
            </c:dLbl>
            <c:dLbl>
              <c:idx val="10"/>
              <c:tx>
                <c:rich>
                  <a:bodyPr/>
                  <a:lstStyle/>
                  <a:p>
                    <a:r>
                      <a:t>85</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451774885245448</c:v>
                </c:pt>
                <c:pt idx="1">
                  <c:v>0.8689921551665415</c:v>
                </c:pt>
                <c:pt idx="2">
                  <c:v>0.916928893988905</c:v>
                </c:pt>
                <c:pt idx="3">
                  <c:v>0.8828260781849402</c:v>
                </c:pt>
                <c:pt idx="4">
                  <c:v>0.9015445166263243</c:v>
                </c:pt>
                <c:pt idx="5">
                  <c:v>0.863464396109123</c:v>
                </c:pt>
                <c:pt idx="6">
                  <c:v>0.9226385576749312</c:v>
                </c:pt>
                <c:pt idx="7">
                  <c:v>0.8844931440826029</c:v>
                </c:pt>
                <c:pt idx="8">
                  <c:v>0.8946107130807549</c:v>
                </c:pt>
                <c:pt idx="9">
                  <c:v>0.837355851871631</c:v>
                </c:pt>
                <c:pt idx="10">
                  <c:v>0.8533272063604914</c:v>
                </c:pt>
                <c:pt idx="11">
                  <c:v>0.8938362562901699</c:v>
                </c:pt>
                <c:pt idx="12">
                  <c:v>1.000854128128657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816791</c:v>
                </c:pt>
                <c:pt idx="1">
                  <c:v>3.417925</c:v>
                </c:pt>
                <c:pt idx="2">
                  <c:v>1.50302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8</a:t>
                    </a:r>
                  </a:p>
                </c:rich>
              </c:tx>
              <c:showLegendKey val="0"/>
              <c:showVal val="1"/>
              <c:showCatName val="0"/>
              <c:showSerName val="0"/>
              <c:showPercent val="0"/>
              <c:showBubbleSize val="0"/>
            </c:dLbl>
            <c:dLbl>
              <c:idx val="1"/>
              <c:tx>
                <c:rich>
                  <a:bodyPr/>
                  <a:lstStyle/>
                  <a:p>
                    <a:r>
                      <a:rPr>
                        <a:solidFill>
                          <a:srgbClr val="FFFFFF"/>
                        </a:solidFill>
                      </a:rPr>
                      <a:t>18.5</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9.772068</c:v>
                </c:pt>
                <c:pt idx="1">
                  <c:v>18.478585</c:v>
                </c:pt>
                <c:pt idx="2">
                  <c:v>7.2579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8.800487</c:v>
                </c:pt>
                <c:pt idx="1">
                  <c:v>13.909769</c:v>
                </c:pt>
                <c:pt idx="2">
                  <c:v>11.118587</c:v>
                </c:pt>
                <c:pt idx="3">
                  <c:v>10.099565</c:v>
                </c:pt>
                <c:pt idx="4">
                  <c:v>8.9750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19</a:t>
                    </a:r>
                  </a:p>
                </c:rich>
              </c:tx>
              <c:dLblPos val="t"/>
              <c:showLegendKey val="0"/>
              <c:showVal val="1"/>
              <c:showCatName val="0"/>
              <c:showSerName val="0"/>
              <c:showPercent val="0"/>
              <c:showBubbleSize val="0"/>
            </c:dLbl>
            <c:dLbl>
              <c:idx val="1"/>
              <c:tx>
                <c:rich>
                  <a:bodyPr/>
                  <a:lstStyle/>
                  <a:p>
                    <a:r>
                      <a:t>56.41</a:t>
                    </a:r>
                  </a:p>
                </c:rich>
              </c:tx>
              <c:dLblPos val="t"/>
              <c:showLegendKey val="0"/>
              <c:showVal val="1"/>
              <c:showCatName val="0"/>
              <c:showSerName val="0"/>
              <c:showPercent val="0"/>
              <c:showBubbleSize val="0"/>
            </c:dLbl>
            <c:dLbl>
              <c:idx val="2"/>
              <c:tx>
                <c:rich>
                  <a:bodyPr/>
                  <a:lstStyle/>
                  <a:p>
                    <a:r>
                      <a:t>56.20</a:t>
                    </a:r>
                  </a:p>
                </c:rich>
              </c:tx>
              <c:dLblPos val="t"/>
              <c:showLegendKey val="0"/>
              <c:showVal val="1"/>
              <c:showCatName val="0"/>
              <c:showSerName val="0"/>
              <c:showPercent val="0"/>
              <c:showBubbleSize val="0"/>
            </c:dLbl>
            <c:dLbl>
              <c:idx val="3"/>
              <c:tx>
                <c:rich>
                  <a:bodyPr/>
                  <a:lstStyle/>
                  <a:p>
                    <a:r>
                      <a:t>55.45</a:t>
                    </a:r>
                  </a:p>
                </c:rich>
              </c:tx>
              <c:dLblPos val="t"/>
              <c:showLegendKey val="0"/>
              <c:showVal val="1"/>
              <c:showCatName val="0"/>
              <c:showSerName val="0"/>
              <c:showPercent val="0"/>
              <c:showBubbleSize val="0"/>
            </c:dLbl>
            <c:dLbl>
              <c:idx val="4"/>
              <c:tx>
                <c:rich>
                  <a:bodyPr/>
                  <a:lstStyle/>
                  <a:p>
                    <a:r>
                      <a:t>56.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61.1903</c:v>
                </c:pt>
                <c:pt idx="1">
                  <c:v>56.4108</c:v>
                </c:pt>
                <c:pt idx="2">
                  <c:v>56.2039</c:v>
                </c:pt>
                <c:pt idx="3">
                  <c:v>55.4473</c:v>
                </c:pt>
                <c:pt idx="4">
                  <c:v>56.34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83</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830295602457614</c:v>
                </c:pt>
                <c:pt idx="1">
                  <c:v>0.8509543143121392</c:v>
                </c:pt>
                <c:pt idx="2">
                  <c:v>0.8410589218493424</c:v>
                </c:pt>
                <c:pt idx="3">
                  <c:v>0.8330116615108447</c:v>
                </c:pt>
                <c:pt idx="4">
                  <c:v>0.867674566001896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2.768574</c:v>
                </c:pt>
                <c:pt idx="1">
                  <c:v>1.724601</c:v>
                </c:pt>
                <c:pt idx="2">
                  <c:v>1.376618</c:v>
                </c:pt>
                <c:pt idx="3">
                  <c:v>1.251245</c:v>
                </c:pt>
                <c:pt idx="4">
                  <c:v>0.9979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3.52</a:t>
                    </a:r>
                  </a:p>
                </c:rich>
              </c:tx>
              <c:dLblPos val="t"/>
              <c:showLegendKey val="0"/>
              <c:showVal val="1"/>
              <c:showCatName val="0"/>
              <c:showSerName val="0"/>
              <c:showPercent val="0"/>
              <c:showBubbleSize val="0"/>
            </c:dLbl>
            <c:dLbl>
              <c:idx val="1"/>
              <c:tx>
                <c:rich>
                  <a:bodyPr/>
                  <a:lstStyle/>
                  <a:p>
                    <a:r>
                      <a:t>95.07</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91.79</a:t>
                    </a:r>
                  </a:p>
                </c:rich>
              </c:tx>
              <c:dLblPos val="t"/>
              <c:showLegendKey val="0"/>
              <c:showVal val="1"/>
              <c:showCatName val="0"/>
              <c:showSerName val="0"/>
              <c:showPercent val="0"/>
              <c:showBubbleSize val="0"/>
            </c:dLbl>
            <c:dLbl>
              <c:idx val="4"/>
              <c:tx>
                <c:rich>
                  <a:bodyPr/>
                  <a:lstStyle/>
                  <a:p>
                    <a:r>
                      <a:t>96.4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103.5174</c:v>
                </c:pt>
                <c:pt idx="1">
                  <c:v>95.0717</c:v>
                </c:pt>
                <c:pt idx="2">
                  <c:v>96.2401</c:v>
                </c:pt>
                <c:pt idx="3">
                  <c:v>91.7941</c:v>
                </c:pt>
                <c:pt idx="4">
                  <c:v>96.432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1</a:t>
                    </a:r>
                  </a:p>
                </c:rich>
              </c:tx>
              <c:dLblPos val="ctr"/>
              <c:showLegendKey val="0"/>
              <c:showVal val="1"/>
              <c:showCatName val="0"/>
              <c:showSerName val="0"/>
              <c:showPercent val="0"/>
              <c:showBubbleSize val="0"/>
            </c:dLbl>
            <c:dLbl>
              <c:idx val="1"/>
              <c:tx>
                <c:rich>
                  <a:bodyPr/>
                  <a:lstStyle/>
                  <a:p>
                    <a:r>
                      <a:t>74</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72</a:t>
                    </a:r>
                  </a:p>
                </c:rich>
              </c:tx>
              <c:dLblPos val="ctr"/>
              <c:showLegendKey val="0"/>
              <c:showVal val="1"/>
              <c:showCatName val="0"/>
              <c:showSerName val="0"/>
              <c:showPercent val="0"/>
              <c:showBubbleSize val="0"/>
            </c:dLbl>
            <c:dLbl>
              <c:idx val="4"/>
              <c:tx>
                <c:rich>
                  <a:bodyPr/>
                  <a:lstStyle/>
                  <a:p>
                    <a:r>
                      <a:t>7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11496830894267</c:v>
                </c:pt>
                <c:pt idx="1">
                  <c:v>0.7417447291682795</c:v>
                </c:pt>
                <c:pt idx="2">
                  <c:v>0.657046403593805</c:v>
                </c:pt>
                <c:pt idx="3">
                  <c:v>0.7232947805799561</c:v>
                </c:pt>
                <c:pt idx="4">
                  <c:v>0.7640517481618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755192</c:v>
                </c:pt>
                <c:pt idx="1">
                  <c:v>0.63924</c:v>
                </c:pt>
                <c:pt idx="2">
                  <c:v>0.564354</c:v>
                </c:pt>
                <c:pt idx="3">
                  <c:v>0.50588</c:v>
                </c:pt>
                <c:pt idx="4">
                  <c:v>0.42454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2</a:t>
                    </a:r>
                  </a:p>
                </c:rich>
              </c:tx>
              <c:dLblPos val="t"/>
              <c:showLegendKey val="0"/>
              <c:showVal val="1"/>
              <c:showCatName val="0"/>
              <c:showSerName val="0"/>
              <c:showPercent val="0"/>
              <c:showBubbleSize val="0"/>
            </c:dLbl>
            <c:dLbl>
              <c:idx val="1"/>
              <c:tx>
                <c:rich>
                  <a:bodyPr/>
                  <a:lstStyle/>
                  <a:p>
                    <a:r>
                      <a:t>39.95</a:t>
                    </a:r>
                  </a:p>
                </c:rich>
              </c:tx>
              <c:dLblPos val="t"/>
              <c:showLegendKey val="0"/>
              <c:showVal val="1"/>
              <c:showCatName val="0"/>
              <c:showSerName val="0"/>
              <c:showPercent val="0"/>
              <c:showBubbleSize val="0"/>
            </c:dLbl>
            <c:dLbl>
              <c:idx val="2"/>
              <c:tx>
                <c:rich>
                  <a:bodyPr/>
                  <a:lstStyle/>
                  <a:p>
                    <a:r>
                      <a:t>40.06</a:t>
                    </a:r>
                  </a:p>
                </c:rich>
              </c:tx>
              <c:dLblPos val="t"/>
              <c:showLegendKey val="0"/>
              <c:showVal val="1"/>
              <c:showCatName val="0"/>
              <c:showSerName val="0"/>
              <c:showPercent val="0"/>
              <c:showBubbleSize val="0"/>
            </c:dLbl>
            <c:dLbl>
              <c:idx val="3"/>
              <c:tx>
                <c:rich>
                  <a:bodyPr/>
                  <a:lstStyle/>
                  <a:p>
                    <a:r>
                      <a:t>40.03</a:t>
                    </a:r>
                  </a:p>
                </c:rich>
              </c:tx>
              <c:dLblPos val="t"/>
              <c:showLegendKey val="0"/>
              <c:showVal val="1"/>
              <c:showCatName val="0"/>
              <c:showSerName val="0"/>
              <c:showPercent val="0"/>
              <c:showBubbleSize val="0"/>
            </c:dLbl>
            <c:dLbl>
              <c:idx val="4"/>
              <c:tx>
                <c:rich>
                  <a:bodyPr/>
                  <a:lstStyle/>
                  <a:p>
                    <a:r>
                      <a:t>4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39.9213</c:v>
                </c:pt>
                <c:pt idx="1">
                  <c:v>39.95</c:v>
                </c:pt>
                <c:pt idx="2">
                  <c:v>40.0564</c:v>
                </c:pt>
                <c:pt idx="3">
                  <c:v>40.0348</c:v>
                </c:pt>
                <c:pt idx="4">
                  <c:v>4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7</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80</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74573970726013</c:v>
                </c:pt>
                <c:pt idx="1">
                  <c:v>0.8420525723017341</c:v>
                </c:pt>
                <c:pt idx="2">
                  <c:v>0.8521046162951869</c:v>
                </c:pt>
                <c:pt idx="3">
                  <c:v>0.8049645954332086</c:v>
                </c:pt>
                <c:pt idx="4">
                  <c:v>0.87147364380389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503099</c:v>
                </c:pt>
                <c:pt idx="1">
                  <c:v>0.916766</c:v>
                </c:pt>
                <c:pt idx="2">
                  <c:v>0.673504</c:v>
                </c:pt>
                <c:pt idx="3">
                  <c:v>0.636306</c:v>
                </c:pt>
                <c:pt idx="4">
                  <c:v>0.5592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6.60</a:t>
                    </a:r>
                  </a:p>
                </c:rich>
              </c:tx>
              <c:dLblPos val="t"/>
              <c:showLegendKey val="0"/>
              <c:showVal val="1"/>
              <c:showCatName val="0"/>
              <c:showSerName val="0"/>
              <c:showPercent val="0"/>
              <c:showBubbleSize val="0"/>
            </c:dLbl>
            <c:dLbl>
              <c:idx val="1"/>
              <c:tx>
                <c:rich>
                  <a:bodyPr/>
                  <a:lstStyle/>
                  <a:p>
                    <a:r>
                      <a:t>71.44</a:t>
                    </a:r>
                  </a:p>
                </c:rich>
              </c:tx>
              <c:dLblPos val="t"/>
              <c:showLegendKey val="0"/>
              <c:showVal val="1"/>
              <c:showCatName val="0"/>
              <c:showSerName val="0"/>
              <c:showPercent val="0"/>
              <c:showBubbleSize val="0"/>
            </c:dLbl>
            <c:dLbl>
              <c:idx val="2"/>
              <c:tx>
                <c:rich>
                  <a:bodyPr/>
                  <a:lstStyle/>
                  <a:p>
                    <a:r>
                      <a:t>70.82</a:t>
                    </a:r>
                  </a:p>
                </c:rich>
              </c:tx>
              <c:dLblPos val="t"/>
              <c:showLegendKey val="0"/>
              <c:showVal val="1"/>
              <c:showCatName val="0"/>
              <c:showSerName val="0"/>
              <c:showPercent val="0"/>
              <c:showBubbleSize val="0"/>
            </c:dLbl>
            <c:dLbl>
              <c:idx val="3"/>
              <c:tx>
                <c:rich>
                  <a:bodyPr/>
                  <a:lstStyle/>
                  <a:p>
                    <a:r>
                      <a:t>69.80</a:t>
                    </a:r>
                  </a:p>
                </c:rich>
              </c:tx>
              <c:dLblPos val="t"/>
              <c:showLegendKey val="0"/>
              <c:showVal val="1"/>
              <c:showCatName val="0"/>
              <c:showSerName val="0"/>
              <c:showPercent val="0"/>
              <c:showBubbleSize val="0"/>
            </c:dLbl>
            <c:dLbl>
              <c:idx val="4"/>
              <c:tx>
                <c:rich>
                  <a:bodyPr/>
                  <a:lstStyle/>
                  <a:p>
                    <a:r>
                      <a:t>71.4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86.604</c:v>
                </c:pt>
                <c:pt idx="1">
                  <c:v>71.4437</c:v>
                </c:pt>
                <c:pt idx="2">
                  <c:v>70.8206</c:v>
                </c:pt>
                <c:pt idx="3">
                  <c:v>69.801</c:v>
                </c:pt>
                <c:pt idx="4">
                  <c:v>71.40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2</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247465840840429</c:v>
                </c:pt>
                <c:pt idx="1">
                  <c:v>0.8401201577666344</c:v>
                </c:pt>
                <c:pt idx="2">
                  <c:v>0.8115708713459946</c:v>
                </c:pt>
                <c:pt idx="3">
                  <c:v>0.8075482138415225</c:v>
                </c:pt>
                <c:pt idx="4">
                  <c:v>0.82559354913001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503099</c:v>
                </c:pt>
                <c:pt idx="1">
                  <c:v>0.916766</c:v>
                </c:pt>
                <c:pt idx="2">
                  <c:v>0.673504</c:v>
                </c:pt>
                <c:pt idx="3">
                  <c:v>0.636306</c:v>
                </c:pt>
                <c:pt idx="4">
                  <c:v>0.5592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6.60</a:t>
                    </a:r>
                  </a:p>
                </c:rich>
              </c:tx>
              <c:dLblPos val="t"/>
              <c:showLegendKey val="0"/>
              <c:showVal val="1"/>
              <c:showCatName val="0"/>
              <c:showSerName val="0"/>
              <c:showPercent val="0"/>
              <c:showBubbleSize val="0"/>
            </c:dLbl>
            <c:dLbl>
              <c:idx val="1"/>
              <c:tx>
                <c:rich>
                  <a:bodyPr/>
                  <a:lstStyle/>
                  <a:p>
                    <a:r>
                      <a:t>71.44</a:t>
                    </a:r>
                  </a:p>
                </c:rich>
              </c:tx>
              <c:dLblPos val="t"/>
              <c:showLegendKey val="0"/>
              <c:showVal val="1"/>
              <c:showCatName val="0"/>
              <c:showSerName val="0"/>
              <c:showPercent val="0"/>
              <c:showBubbleSize val="0"/>
            </c:dLbl>
            <c:dLbl>
              <c:idx val="2"/>
              <c:tx>
                <c:rich>
                  <a:bodyPr/>
                  <a:lstStyle/>
                  <a:p>
                    <a:r>
                      <a:t>70.82</a:t>
                    </a:r>
                  </a:p>
                </c:rich>
              </c:tx>
              <c:dLblPos val="t"/>
              <c:showLegendKey val="0"/>
              <c:showVal val="1"/>
              <c:showCatName val="0"/>
              <c:showSerName val="0"/>
              <c:showPercent val="0"/>
              <c:showBubbleSize val="0"/>
            </c:dLbl>
            <c:dLbl>
              <c:idx val="3"/>
              <c:tx>
                <c:rich>
                  <a:bodyPr/>
                  <a:lstStyle/>
                  <a:p>
                    <a:r>
                      <a:t>69.80</a:t>
                    </a:r>
                  </a:p>
                </c:rich>
              </c:tx>
              <c:dLblPos val="t"/>
              <c:showLegendKey val="0"/>
              <c:showVal val="1"/>
              <c:showCatName val="0"/>
              <c:showSerName val="0"/>
              <c:showPercent val="0"/>
              <c:showBubbleSize val="0"/>
            </c:dLbl>
            <c:dLbl>
              <c:idx val="4"/>
              <c:tx>
                <c:rich>
                  <a:bodyPr/>
                  <a:lstStyle/>
                  <a:p>
                    <a:r>
                      <a:t>71.4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86.604</c:v>
                </c:pt>
                <c:pt idx="1">
                  <c:v>71.4437</c:v>
                </c:pt>
                <c:pt idx="2">
                  <c:v>70.8206</c:v>
                </c:pt>
                <c:pt idx="3">
                  <c:v>69.801</c:v>
                </c:pt>
                <c:pt idx="4">
                  <c:v>71.40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2</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247465840840429</c:v>
                </c:pt>
                <c:pt idx="1">
                  <c:v>0.8401201577666344</c:v>
                </c:pt>
                <c:pt idx="2">
                  <c:v>0.8115708713459946</c:v>
                </c:pt>
                <c:pt idx="3">
                  <c:v>0.8075482138415225</c:v>
                </c:pt>
                <c:pt idx="4">
                  <c:v>0.82559354913001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549</c:v>
                </c:pt>
                <c:pt idx="1">
                  <c:v>0.059138</c:v>
                </c:pt>
                <c:pt idx="2">
                  <c:v>0.0267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741</c:v>
                </c:pt>
                <c:pt idx="1">
                  <c:v>2.349605</c:v>
                </c:pt>
                <c:pt idx="2">
                  <c:v>1.0730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35</c:v>
                </c:pt>
                <c:pt idx="1">
                  <c:v>0.00097</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8e-05</c:v>
                </c:pt>
                <c:pt idx="1">
                  <c:v>8.3e-05</c:v>
                </c:pt>
                <c:pt idx="2">
                  <c:v>0.0001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2901</c:v>
                </c:pt>
                <c:pt idx="1">
                  <c:v>0.039874</c:v>
                </c:pt>
                <c:pt idx="2">
                  <c:v>0.0199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648</c:v>
                </c:pt>
                <c:pt idx="1">
                  <c:v>0.004947</c:v>
                </c:pt>
                <c:pt idx="2">
                  <c:v>0.0071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728</c:v>
                </c:pt>
                <c:pt idx="1">
                  <c:v>0.001278</c:v>
                </c:pt>
                <c:pt idx="2">
                  <c:v>0.0004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1</c:v>
                </c:pt>
                <c:pt idx="1">
                  <c:v>0.000116</c:v>
                </c:pt>
                <c:pt idx="2">
                  <c:v>0.0002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262</c:v>
                </c:pt>
                <c:pt idx="1">
                  <c:v>0.052767</c:v>
                </c:pt>
                <c:pt idx="2">
                  <c:v>0.0200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324</c:v>
                </c:pt>
                <c:pt idx="1">
                  <c:v>0.006694</c:v>
                </c:pt>
                <c:pt idx="2">
                  <c:v>0.0133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84</c:v>
                </c:pt>
                <c:pt idx="1">
                  <c:v>0.000972</c:v>
                </c:pt>
                <c:pt idx="2">
                  <c:v>0.0003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e-05</c:v>
                </c:pt>
                <c:pt idx="1">
                  <c:v>8.2e-05</c:v>
                </c:pt>
                <c:pt idx="2">
                  <c:v>0.000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61</c:v>
                </c:pt>
                <c:pt idx="1">
                  <c:v>0.039675</c:v>
                </c:pt>
                <c:pt idx="2">
                  <c:v>0.0151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131</c:v>
                </c:pt>
                <c:pt idx="1">
                  <c:v>0.004658</c:v>
                </c:pt>
                <c:pt idx="2">
                  <c:v>0.0065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71</c:v>
                </c:pt>
                <c:pt idx="1">
                  <c:v>0.000911</c:v>
                </c:pt>
                <c:pt idx="2">
                  <c:v>0.00038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2e-05</c:v>
                </c:pt>
                <c:pt idx="1">
                  <c:v>5.5e-05</c:v>
                </c:pt>
                <c:pt idx="2">
                  <c:v>6.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726</c:v>
                </c:pt>
                <c:pt idx="1">
                  <c:v>0.03644</c:v>
                </c:pt>
                <c:pt idx="2">
                  <c:v>0.0166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381</c:v>
                </c:pt>
                <c:pt idx="1">
                  <c:v>0.002999</c:v>
                </c:pt>
                <c:pt idx="2">
                  <c:v>0.003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3</c:v>
                </c:pt>
                <c:pt idx="1">
                  <c:v>0.00092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1</c:v>
                </c:pt>
                <c:pt idx="1">
                  <c:v>0.00012</c:v>
                </c:pt>
                <c:pt idx="2">
                  <c:v>0.000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494</c:v>
                </c:pt>
                <c:pt idx="1">
                  <c:v>0.037892</c:v>
                </c:pt>
                <c:pt idx="2">
                  <c:v>0.01052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9</c:v>
                </c:pt>
                <c:pt idx="1">
                  <c:v>0.006002</c:v>
                </c:pt>
                <c:pt idx="2">
                  <c:v>0.0057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79</c:v>
                </c:pt>
                <c:pt idx="1">
                  <c:v>0.000171</c:v>
                </c:pt>
                <c:pt idx="2">
                  <c:v>6.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e-05</c:v>
                </c:pt>
                <c:pt idx="1">
                  <c:v>1.3e-05</c:v>
                </c:pt>
                <c:pt idx="2">
                  <c:v>2.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49</c:v>
                </c:pt>
                <c:pt idx="1">
                  <c:v>0.007093</c:v>
                </c:pt>
                <c:pt idx="2">
                  <c:v>0.0027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7</c:v>
                </c:pt>
                <c:pt idx="1">
                  <c:v>0.000592</c:v>
                </c:pt>
                <c:pt idx="2">
                  <c:v>0.0014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1</c:v>
                </c:pt>
                <c:pt idx="1">
                  <c:v>0.001059</c:v>
                </c:pt>
                <c:pt idx="2">
                  <c:v>0.0004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307</c:v>
                </c:pt>
                <c:pt idx="1">
                  <c:v>0.099242</c:v>
                </c:pt>
                <c:pt idx="2">
                  <c:v>0.04250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1</c:v>
                </c:pt>
                <c:pt idx="1">
                  <c:v>0.001848</c:v>
                </c:pt>
                <c:pt idx="2">
                  <c:v>0.0006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31</c:v>
                </c:pt>
                <c:pt idx="1">
                  <c:v>0.003862</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46</c:v>
                </c:pt>
                <c:pt idx="1">
                  <c:v>0.000408</c:v>
                </c:pt>
                <c:pt idx="2">
                  <c:v>0.00022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815</c:v>
                </c:pt>
                <c:pt idx="1">
                  <c:v>0.004974</c:v>
                </c:pt>
                <c:pt idx="2">
                  <c:v>0.0020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3835</c:v>
                </c:pt>
                <c:pt idx="1">
                  <c:v>0.469785</c:v>
                </c:pt>
                <c:pt idx="2">
                  <c:v>0.1700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9563</c:v>
                </c:pt>
                <c:pt idx="1">
                  <c:v>0.462579</c:v>
                </c:pt>
                <c:pt idx="2">
                  <c:v>0.1856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93</c:v>
                </c:pt>
                <c:pt idx="1">
                  <c:v>0.000276</c:v>
                </c:pt>
                <c:pt idx="2">
                  <c:v>0.0001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09</c:v>
                </c:pt>
                <c:pt idx="1">
                  <c:v>0.000141</c:v>
                </c:pt>
                <c:pt idx="2">
                  <c:v>3.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6</c:v>
                </c:pt>
                <c:pt idx="1">
                  <c:v>0.000188</c:v>
                </c:pt>
                <c:pt idx="2">
                  <c:v>7.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102</c:v>
                </c:pt>
                <c:pt idx="1">
                  <c:v>0.017358</c:v>
                </c:pt>
                <c:pt idx="2">
                  <c:v>0.0092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296</c:v>
                </c:pt>
                <c:pt idx="1">
                  <c:v>0.129151</c:v>
                </c:pt>
                <c:pt idx="2">
                  <c:v>0.0522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3551</c:v>
                </c:pt>
                <c:pt idx="1">
                  <c:v>0.08115</c:v>
                </c:pt>
                <c:pt idx="2">
                  <c:v>0.0305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247</c:v>
                </c:pt>
                <c:pt idx="1">
                  <c:v>0.040744</c:v>
                </c:pt>
                <c:pt idx="2">
                  <c:v>0.01084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317</c:v>
                </c:pt>
                <c:pt idx="1">
                  <c:v>0.015985</c:v>
                </c:pt>
                <c:pt idx="2">
                  <c:v>0.0072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2</c:v>
                </c:pt>
                <c:pt idx="1">
                  <c:v>0.000237</c:v>
                </c:pt>
                <c:pt idx="2">
                  <c:v>6.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99</c:v>
                </c:pt>
                <c:pt idx="1">
                  <c:v>0.000261</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994</c:v>
                </c:pt>
                <c:pt idx="1">
                  <c:v>0.070695</c:v>
                </c:pt>
                <c:pt idx="2">
                  <c:v>0.0168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809</c:v>
                </c:pt>
                <c:pt idx="1">
                  <c:v>0.03766</c:v>
                </c:pt>
                <c:pt idx="2">
                  <c:v>0.0139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699</c:v>
                </c:pt>
                <c:pt idx="1">
                  <c:v>0.020563</c:v>
                </c:pt>
                <c:pt idx="2">
                  <c:v>0.009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68165</c:v>
                </c:pt>
                <c:pt idx="1">
                  <c:v>0.163103</c:v>
                </c:pt>
                <c:pt idx="2">
                  <c:v>0.0628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56</c:v>
                </c:pt>
                <c:pt idx="1">
                  <c:v>0.000137</c:v>
                </c:pt>
                <c:pt idx="2">
                  <c:v>5.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36</c:v>
                </c:pt>
                <c:pt idx="1">
                  <c:v>0.000194</c:v>
                </c:pt>
                <c:pt idx="2">
                  <c:v>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414</c:v>
                </c:pt>
                <c:pt idx="1">
                  <c:v>0.035254</c:v>
                </c:pt>
                <c:pt idx="2">
                  <c:v>0.0135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784</c:v>
                </c:pt>
                <c:pt idx="1">
                  <c:v>0.025722</c:v>
                </c:pt>
                <c:pt idx="2">
                  <c:v>0.008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68</c:v>
                </c:pt>
                <c:pt idx="1">
                  <c:v>0.000142</c:v>
                </c:pt>
                <c:pt idx="2">
                  <c:v>4.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1</c:v>
                </c:pt>
                <c:pt idx="1">
                  <c:v>0.000319</c:v>
                </c:pt>
                <c:pt idx="2">
                  <c:v>0.000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276</c:v>
                </c:pt>
                <c:pt idx="1">
                  <c:v>0.030561</c:v>
                </c:pt>
                <c:pt idx="2">
                  <c:v>0.0113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4482</c:v>
                </c:pt>
                <c:pt idx="1">
                  <c:v>0.034398</c:v>
                </c:pt>
                <c:pt idx="2">
                  <c:v>0.0165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3</a:t>
                    </a:r>
                  </a:p>
                </c:rich>
              </c:tx>
              <c:showLegendKey val="0"/>
              <c:showVal val="1"/>
              <c:showCatName val="0"/>
              <c:showSerName val="0"/>
              <c:showPercent val="0"/>
              <c:showBubbleSize val="0"/>
            </c:dLbl>
            <c:dLbl>
              <c:idx val="2"/>
              <c:tx>
                <c:rich>
                  <a:bodyPr/>
                  <a:lstStyle/>
                  <a:p>
                    <a:r>
                      <a:rPr>
                        <a:solidFill>
                          <a:srgbClr val="FFFFFF"/>
                        </a:solidFill>
                      </a:rPr>
                      <a:t>1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021369</c:v>
                </c:pt>
                <c:pt idx="1">
                  <c:v>34.252904</c:v>
                </c:pt>
                <c:pt idx="2">
                  <c:v>17.3450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268812</c:v>
                </c:pt>
                <c:pt idx="1">
                  <c:v>5.080104</c:v>
                </c:pt>
                <c:pt idx="2">
                  <c:v>2.3143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5</a:t>
                    </a:r>
                  </a:p>
                </c:rich>
              </c:tx>
              <c:showLegendKey val="0"/>
              <c:showVal val="1"/>
              <c:showCatName val="0"/>
              <c:showSerName val="0"/>
              <c:showPercent val="0"/>
              <c:showBubbleSize val="0"/>
            </c:dLbl>
            <c:dLbl>
              <c:idx val="2"/>
              <c:tx>
                <c:rich>
                  <a:bodyPr/>
                  <a:lstStyle/>
                  <a:p>
                    <a:r>
                      <a:rPr>
                        <a:solidFill>
                          <a:srgbClr val="FFFFFF"/>
                        </a:solidFill>
                      </a:rPr>
                      <a:t>2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491856</c:v>
                </c:pt>
                <c:pt idx="1">
                  <c:v>58.538707</c:v>
                </c:pt>
                <c:pt idx="2">
                  <c:v>28.922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950637</c:v>
                </c:pt>
                <c:pt idx="1">
                  <c:v>0.865662</c:v>
                </c:pt>
                <c:pt idx="2">
                  <c:v>0.3864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a:t>
                    </a:r>
                  </a:p>
                </c:rich>
              </c:tx>
              <c:showLegendKey val="0"/>
              <c:showVal val="1"/>
              <c:showCatName val="0"/>
              <c:showSerName val="0"/>
              <c:showPercent val="0"/>
              <c:showBubbleSize val="0"/>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83596</c:v>
                </c:pt>
                <c:pt idx="1">
                  <c:v>5.181656</c:v>
                </c:pt>
                <c:pt idx="2">
                  <c:v>2.0087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86</c:v>
                </c:pt>
                <c:pt idx="1">
                  <c:v>0.011482</c:v>
                </c:pt>
                <c:pt idx="2">
                  <c:v>0.0037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095</c:v>
                </c:pt>
                <c:pt idx="1">
                  <c:v>0.007999</c:v>
                </c:pt>
                <c:pt idx="2">
                  <c:v>0.0033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177</c:v>
                </c:pt>
                <c:pt idx="1">
                  <c:v>0.011877</c:v>
                </c:pt>
                <c:pt idx="2">
                  <c:v>0.00511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8386</c:v>
                </c:pt>
                <c:pt idx="1">
                  <c:v>0.031005</c:v>
                </c:pt>
                <c:pt idx="2">
                  <c:v>0.0118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04552</c:v>
                </c:pt>
                <c:pt idx="1">
                  <c:v>1.549448</c:v>
                </c:pt>
                <c:pt idx="2">
                  <c:v>0.5216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4258</c:v>
                </c:pt>
                <c:pt idx="1">
                  <c:v>0.709763</c:v>
                </c:pt>
                <c:pt idx="2">
                  <c:v>0.305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24486</c:v>
                </c:pt>
                <c:pt idx="1">
                  <c:v>0.455925</c:v>
                </c:pt>
                <c:pt idx="2">
                  <c:v>0.196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62813</c:v>
                </c:pt>
                <c:pt idx="1">
                  <c:v>1.970305</c:v>
                </c:pt>
                <c:pt idx="2">
                  <c:v>0.743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684</c:v>
                </c:pt>
                <c:pt idx="1">
                  <c:v>0.302041</c:v>
                </c:pt>
                <c:pt idx="2">
                  <c:v>0.1447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5811</c:v>
                </c:pt>
                <c:pt idx="1">
                  <c:v>0.74028</c:v>
                </c:pt>
                <c:pt idx="2">
                  <c:v>0.343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12.0</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24895</c:v>
                </c:pt>
                <c:pt idx="1">
                  <c:v>11.955404</c:v>
                </c:pt>
                <c:pt idx="2">
                  <c:v>5.7389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2.8</a:t>
                    </a:r>
                  </a:p>
                </c:rich>
              </c:tx>
              <c:showLegendKey val="0"/>
              <c:showVal val="1"/>
              <c:showCatName val="0"/>
              <c:showSerName val="0"/>
              <c:showPercent val="0"/>
              <c:showBubbleSize val="0"/>
            </c:dLbl>
            <c:dLbl>
              <c:idx val="1"/>
              <c:tx>
                <c:rich>
                  <a:bodyPr/>
                  <a:lstStyle/>
                  <a:p>
                    <a:r>
                      <a:rPr>
                        <a:solidFill>
                          <a:srgbClr val="FFFFFF"/>
                        </a:solidFill>
                      </a:rPr>
                      <a:t>29.4</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63796</c:v>
                </c:pt>
                <c:pt idx="1">
                  <c:v>29.363381</c:v>
                </c:pt>
                <c:pt idx="2">
                  <c:v>13.8544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59</c:v>
                </c:pt>
                <c:pt idx="1">
                  <c:v>0.004491</c:v>
                </c:pt>
                <c:pt idx="2">
                  <c:v>0.001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59</c:v>
                </c:pt>
                <c:pt idx="1">
                  <c:v>0.003395</c:v>
                </c:pt>
                <c:pt idx="2">
                  <c:v>0.00146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8</c:v>
                </c:pt>
                <c:pt idx="1">
                  <c:v>0.005167</c:v>
                </c:pt>
                <c:pt idx="2">
                  <c:v>0.0023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384</c:v>
                </c:pt>
                <c:pt idx="1">
                  <c:v>0.013911</c:v>
                </c:pt>
                <c:pt idx="2">
                  <c:v>0.005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08</c:v>
                </c:pt>
                <c:pt idx="1">
                  <c:v>0.639426</c:v>
                </c:pt>
                <c:pt idx="2">
                  <c:v>0.2217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357</c:v>
                </c:pt>
                <c:pt idx="1">
                  <c:v>0.306916</c:v>
                </c:pt>
                <c:pt idx="2">
                  <c:v>0.131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3143</c:v>
                </c:pt>
                <c:pt idx="1">
                  <c:v>0.199702</c:v>
                </c:pt>
                <c:pt idx="2">
                  <c:v>0.0889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47875</c:v>
                </c:pt>
                <c:pt idx="1">
                  <c:v>0.868991</c:v>
                </c:pt>
                <c:pt idx="2">
                  <c:v>0.340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72</c:v>
                </c:pt>
                <c:pt idx="1">
                  <c:v>0.000511</c:v>
                </c:pt>
                <c:pt idx="2">
                  <c:v>0.0001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31</c:v>
                </c:pt>
                <c:pt idx="1">
                  <c:v>0.001575</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483</c:v>
                </c:pt>
                <c:pt idx="1">
                  <c:v>0.066517</c:v>
                </c:pt>
                <c:pt idx="2">
                  <c:v>0.0229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924</c:v>
                </c:pt>
                <c:pt idx="1">
                  <c:v>0.113988</c:v>
                </c:pt>
                <c:pt idx="2">
                  <c:v>0.0352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6</c:v>
                </c:pt>
                <c:pt idx="1">
                  <c:v>0.000499</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26</c:v>
                </c:pt>
                <c:pt idx="1">
                  <c:v>0.000504</c:v>
                </c:pt>
                <c:pt idx="2">
                  <c:v>0.000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29</c:v>
                </c:pt>
                <c:pt idx="1">
                  <c:v>0.001261</c:v>
                </c:pt>
                <c:pt idx="2">
                  <c:v>0.0004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4466</c:v>
                </c:pt>
                <c:pt idx="1">
                  <c:v>0.062163</c:v>
                </c:pt>
                <c:pt idx="2">
                  <c:v>0.0175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904</c:v>
                </c:pt>
                <c:pt idx="1">
                  <c:v>0.018831</c:v>
                </c:pt>
                <c:pt idx="2">
                  <c:v>0.006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57</c:v>
                </c:pt>
                <c:pt idx="1">
                  <c:v>0.084596</c:v>
                </c:pt>
                <c:pt idx="2">
                  <c:v>0.0293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56</c:v>
                </c:pt>
                <c:pt idx="1">
                  <c:v>0.000331</c:v>
                </c:pt>
                <c:pt idx="2">
                  <c:v>9.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4</c:v>
                </c:pt>
                <c:pt idx="1">
                  <c:v>0.000267</c:v>
                </c:pt>
                <c:pt idx="2">
                  <c:v>0.0001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99</c:v>
                </c:pt>
                <c:pt idx="1">
                  <c:v>0.000423</c:v>
                </c:pt>
                <c:pt idx="2">
                  <c:v>0.00017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7</c:v>
                </c:pt>
                <c:pt idx="1">
                  <c:v>0.000967</c:v>
                </c:pt>
                <c:pt idx="2">
                  <c:v>0.00031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3782</c:v>
                </c:pt>
                <c:pt idx="1">
                  <c:v>0.040697</c:v>
                </c:pt>
                <c:pt idx="2">
                  <c:v>0.0120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165</c:v>
                </c:pt>
                <c:pt idx="1">
                  <c:v>0.021803</c:v>
                </c:pt>
                <c:pt idx="2">
                  <c:v>0.0090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869</c:v>
                </c:pt>
                <c:pt idx="1">
                  <c:v>0.015813</c:v>
                </c:pt>
                <c:pt idx="2">
                  <c:v>0.00658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97</c:v>
                </c:pt>
                <c:pt idx="1">
                  <c:v>0.059696</c:v>
                </c:pt>
                <c:pt idx="2">
                  <c:v>0.0195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57</c:v>
                </c:pt>
                <c:pt idx="1">
                  <c:v>0.000243</c:v>
                </c:pt>
                <c:pt idx="2">
                  <c:v>6.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08</c:v>
                </c:pt>
                <c:pt idx="1">
                  <c:v>0.000489</c:v>
                </c:pt>
                <c:pt idx="2">
                  <c:v>0.00023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49</c:v>
                </c:pt>
                <c:pt idx="1">
                  <c:v>0.001025</c:v>
                </c:pt>
                <c:pt idx="2">
                  <c:v>0.0003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862</c:v>
                </c:pt>
                <c:pt idx="1">
                  <c:v>0.029652</c:v>
                </c:pt>
                <c:pt idx="2">
                  <c:v>0.0085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736</c:v>
                </c:pt>
                <c:pt idx="1">
                  <c:v>0.018134</c:v>
                </c:pt>
                <c:pt idx="2">
                  <c:v>0.0081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103</c:v>
                </c:pt>
                <c:pt idx="1">
                  <c:v>0.068132</c:v>
                </c:pt>
                <c:pt idx="2">
                  <c:v>0.025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5e-05</c:v>
                </c:pt>
                <c:pt idx="1">
                  <c:v>5.4e-05</c:v>
                </c:pt>
                <c:pt idx="2">
                  <c:v>8e-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1e-05</c:v>
                </c:pt>
                <c:pt idx="1">
                  <c:v>7.8e-05</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1</c:v>
                </c:pt>
                <c:pt idx="1">
                  <c:v>0.000243</c:v>
                </c:pt>
                <c:pt idx="2">
                  <c:v>7.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02</c:v>
                </c:pt>
                <c:pt idx="1">
                  <c:v>0.006644</c:v>
                </c:pt>
                <c:pt idx="2">
                  <c:v>0.0014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6</c:v>
                </c:pt>
                <c:pt idx="1">
                  <c:v>0.003005</c:v>
                </c:pt>
                <c:pt idx="2">
                  <c:v>0.0015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929</c:v>
                </c:pt>
                <c:pt idx="1">
                  <c:v>0.016545</c:v>
                </c:pt>
                <c:pt idx="2">
                  <c:v>0.0047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2</c:v>
                </c:pt>
                <c:pt idx="1">
                  <c:v>0.003659</c:v>
                </c:pt>
                <c:pt idx="2">
                  <c:v>0.001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58</c:v>
                </c:pt>
                <c:pt idx="1">
                  <c:v>0.00269</c:v>
                </c:pt>
                <c:pt idx="2">
                  <c:v>0.00110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49</c:v>
                </c:pt>
                <c:pt idx="1">
                  <c:v>0.003288</c:v>
                </c:pt>
                <c:pt idx="2">
                  <c:v>0.0013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446</c:v>
                </c:pt>
                <c:pt idx="1">
                  <c:v>0.009674</c:v>
                </c:pt>
                <c:pt idx="2">
                  <c:v>0.003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2757</c:v>
                </c:pt>
                <c:pt idx="1">
                  <c:v>0.569259</c:v>
                </c:pt>
                <c:pt idx="2">
                  <c:v>0.20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653</c:v>
                </c:pt>
                <c:pt idx="1">
                  <c:v>0.283461</c:v>
                </c:pt>
                <c:pt idx="2">
                  <c:v>0.12261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2065</c:v>
                </c:pt>
                <c:pt idx="1">
                  <c:v>0.12484</c:v>
                </c:pt>
                <c:pt idx="2">
                  <c:v>0.050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38913</c:v>
                </c:pt>
                <c:pt idx="1">
                  <c:v>0.655764</c:v>
                </c:pt>
                <c:pt idx="2">
                  <c:v>0.2408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45302</c:v>
                </c:pt>
                <c:pt idx="1">
                  <c:v>1.296514</c:v>
                </c:pt>
                <c:pt idx="2">
                  <c:v>0.636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12.2</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984677</c:v>
                </c:pt>
                <c:pt idx="1">
                  <c:v>12.242826</c:v>
                </c:pt>
                <c:pt idx="2">
                  <c:v>6.2362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60.7</a:t>
                    </a:r>
                  </a:p>
                </c:rich>
              </c:tx>
              <c:showLegendKey val="0"/>
              <c:showVal val="1"/>
              <c:showCatName val="0"/>
              <c:showSerName val="0"/>
              <c:showPercent val="0"/>
              <c:showBubbleSize val="0"/>
            </c:dLbl>
            <c:dLbl>
              <c:idx val="1"/>
              <c:tx>
                <c:rich>
                  <a:bodyPr/>
                  <a:lstStyle/>
                  <a:p>
                    <a:r>
                      <a:rPr>
                        <a:solidFill>
                          <a:srgbClr val="FFFFFF"/>
                        </a:solidFill>
                      </a:rPr>
                      <a:t>145.4</a:t>
                    </a:r>
                  </a:p>
                </c:rich>
              </c:tx>
              <c:showLegendKey val="0"/>
              <c:showVal val="1"/>
              <c:showCatName val="0"/>
              <c:showSerName val="0"/>
              <c:showPercent val="0"/>
              <c:showBubbleSize val="0"/>
            </c:dLbl>
            <c:dLbl>
              <c:idx val="2"/>
              <c:tx>
                <c:rich>
                  <a:bodyPr/>
                  <a:lstStyle/>
                  <a:p>
                    <a:r>
                      <a:rPr>
                        <a:solidFill>
                          <a:srgbClr val="FFFFFF"/>
                        </a:solidFill>
                      </a:rPr>
                      <a:t>7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0.724853</c:v>
                </c:pt>
                <c:pt idx="1">
                  <c:v>145.427158</c:v>
                </c:pt>
                <c:pt idx="2">
                  <c:v>72.012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226037</c:v>
                </c:pt>
                <c:pt idx="1">
                  <c:v>77.615083</c:v>
                </c:pt>
                <c:pt idx="2">
                  <c:v>35.955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7.5</a:t>
                    </a:r>
                  </a:p>
                </c:rich>
              </c:tx>
              <c:showLegendKey val="0"/>
              <c:showVal val="1"/>
              <c:showCatName val="0"/>
              <c:showSerName val="0"/>
              <c:showPercent val="0"/>
              <c:showBubbleSize val="0"/>
            </c:dLbl>
            <c:dLbl>
              <c:idx val="1"/>
              <c:tx>
                <c:rich>
                  <a:bodyPr/>
                  <a:lstStyle/>
                  <a:p>
                    <a:r>
                      <a:rPr>
                        <a:solidFill>
                          <a:srgbClr val="FFFFFF"/>
                        </a:solidFill>
                      </a:rPr>
                      <a:t>520.8</a:t>
                    </a:r>
                  </a:p>
                </c:rich>
              </c:tx>
              <c:showLegendKey val="0"/>
              <c:showVal val="1"/>
              <c:showCatName val="0"/>
              <c:showSerName val="0"/>
              <c:showPercent val="0"/>
              <c:showBubbleSize val="0"/>
            </c:dLbl>
            <c:dLbl>
              <c:idx val="2"/>
              <c:tx>
                <c:rich>
                  <a:bodyPr/>
                  <a:lstStyle/>
                  <a:p>
                    <a:r>
                      <a:rPr>
                        <a:solidFill>
                          <a:srgbClr val="FFFFFF"/>
                        </a:solidFill>
                      </a:rPr>
                      <a:t>25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17.512355</c:v>
                </c:pt>
                <c:pt idx="1">
                  <c:v>520.767808</c:v>
                </c:pt>
                <c:pt idx="2">
                  <c:v>257.792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237</c:v>
                </c:pt>
                <c:pt idx="1">
                  <c:v>0.081244</c:v>
                </c:pt>
                <c:pt idx="2">
                  <c:v>0.03566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6107</c:v>
                </c:pt>
                <c:pt idx="1">
                  <c:v>0.265452</c:v>
                </c:pt>
                <c:pt idx="2">
                  <c:v>0.0934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c:v>
                </c:pt>
                <c:pt idx="1">
                  <c:v>0.000757</c:v>
                </c:pt>
                <c:pt idx="2">
                  <c:v>0.00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6</c:v>
                </c:pt>
                <c:pt idx="1">
                  <c:v>0.012276</c:v>
                </c:pt>
                <c:pt idx="2">
                  <c:v>0.004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816791</c:v>
                </c:pt>
                <c:pt idx="1">
                  <c:v>3.417925</c:v>
                </c:pt>
                <c:pt idx="2">
                  <c:v>1.50302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874689</c:v>
                </c:pt>
                <c:pt idx="1">
                  <c:v>13.321442</c:v>
                </c:pt>
                <c:pt idx="2">
                  <c:v>4.8660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22715</c:v>
                </c:pt>
                <c:pt idx="1">
                  <c:v>2.743414</c:v>
                </c:pt>
                <c:pt idx="2">
                  <c:v>1.3896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68812</c:v>
                </c:pt>
                <c:pt idx="1">
                  <c:v>5.080082</c:v>
                </c:pt>
                <c:pt idx="2">
                  <c:v>2.3143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82936</c:v>
                </c:pt>
                <c:pt idx="1">
                  <c:v>0.658001</c:v>
                </c:pt>
                <c:pt idx="2">
                  <c:v>0.3147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6896</c:v>
                </c:pt>
                <c:pt idx="1">
                  <c:v>0.661289</c:v>
                </c:pt>
                <c:pt idx="2">
                  <c:v>0.3400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87618</c:v>
                </c:pt>
                <c:pt idx="1">
                  <c:v>0.431415</c:v>
                </c:pt>
                <c:pt idx="2">
                  <c:v>0.2034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12106</c:v>
                </c:pt>
                <c:pt idx="1">
                  <c:v>5.847825</c:v>
                </c:pt>
                <c:pt idx="2">
                  <c:v>2.9366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80.5</a:t>
                    </a:r>
                  </a:p>
                </c:rich>
              </c:tx>
              <c:showLegendKey val="0"/>
              <c:showVal val="1"/>
              <c:showCatName val="0"/>
              <c:showSerName val="0"/>
              <c:showPercent val="0"/>
              <c:showBubbleSize val="0"/>
            </c:dLbl>
            <c:dLbl>
              <c:idx val="2"/>
              <c:tx>
                <c:rich>
                  <a:bodyPr/>
                  <a:lstStyle/>
                  <a:p>
                    <a:r>
                      <a:rPr>
                        <a:solidFill>
                          <a:srgbClr val="FFFFFF"/>
                        </a:solidFill>
                      </a:rPr>
                      <a:t>4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315707</c:v>
                </c:pt>
                <c:pt idx="1">
                  <c:v>80.506093</c:v>
                </c:pt>
                <c:pt idx="2">
                  <c:v>40.2747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226037</c:v>
                </c:pt>
                <c:pt idx="1">
                  <c:v>77.614891</c:v>
                </c:pt>
                <c:pt idx="2">
                  <c:v>35.9549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326661</c:v>
                </c:pt>
                <c:pt idx="1">
                  <c:v>26.293673</c:v>
                </c:pt>
                <c:pt idx="2">
                  <c:v>12.5462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757324</c:v>
                </c:pt>
                <c:pt idx="1">
                  <c:v>19.359139</c:v>
                </c:pt>
                <c:pt idx="2">
                  <c:v>10.03130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639246</c:v>
                </c:pt>
                <c:pt idx="1">
                  <c:v>13.007644</c:v>
                </c:pt>
                <c:pt idx="2">
                  <c:v>6.1577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2</a:t>
                    </a:r>
                  </a:p>
                </c:rich>
              </c:tx>
              <c:showLegendKey val="0"/>
              <c:showVal val="1"/>
              <c:showCatName val="0"/>
              <c:showSerName val="0"/>
              <c:showPercent val="0"/>
              <c:showBubbleSize val="0"/>
            </c:dLbl>
            <c:dLbl>
              <c:idx val="1"/>
              <c:tx>
                <c:rich>
                  <a:bodyPr/>
                  <a:lstStyle/>
                  <a:p>
                    <a:r>
                      <a:rPr>
                        <a:solidFill>
                          <a:srgbClr val="FFFFFF"/>
                        </a:solidFill>
                      </a:rPr>
                      <a:t>138.0</a:t>
                    </a:r>
                  </a:p>
                </c:rich>
              </c:tx>
              <c:showLegendKey val="0"/>
              <c:showVal val="1"/>
              <c:showCatName val="0"/>
              <c:showSerName val="0"/>
              <c:showPercent val="0"/>
              <c:showBubbleSize val="0"/>
            </c:dLbl>
            <c:dLbl>
              <c:idx val="2"/>
              <c:tx>
                <c:rich>
                  <a:bodyPr/>
                  <a:lstStyle/>
                  <a:p>
                    <a:r>
                      <a:rPr>
                        <a:solidFill>
                          <a:srgbClr val="FFFFFF"/>
                        </a:solidFill>
                      </a:rPr>
                      <a:t>6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8.195906</c:v>
                </c:pt>
                <c:pt idx="1">
                  <c:v>138.002269</c:v>
                </c:pt>
                <c:pt idx="2">
                  <c:v>67.5567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14</c:v>
                </c:pt>
                <c:pt idx="1">
                  <c:v>0.000998</c:v>
                </c:pt>
                <c:pt idx="2">
                  <c:v>0.0002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66</c:v>
                </c:pt>
                <c:pt idx="1">
                  <c:v>0.003257</c:v>
                </c:pt>
                <c:pt idx="2">
                  <c:v>0.000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07</c:v>
                </c:pt>
                <c:pt idx="1">
                  <c:v>0.015514</c:v>
                </c:pt>
                <c:pt idx="2">
                  <c:v>0.0044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977</c:v>
                </c:pt>
                <c:pt idx="1">
                  <c:v>0.033635</c:v>
                </c:pt>
                <c:pt idx="2">
                  <c:v>0.0105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09</c:v>
                </c:pt>
                <c:pt idx="1">
                  <c:v>0.003191</c:v>
                </c:pt>
                <c:pt idx="2">
                  <c:v>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329</c:v>
                </c:pt>
                <c:pt idx="1">
                  <c:v>0.037383</c:v>
                </c:pt>
                <c:pt idx="2">
                  <c:v>0.0155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104</c:v>
                </c:pt>
                <c:pt idx="1">
                  <c:v>0.036093</c:v>
                </c:pt>
                <c:pt idx="2">
                  <c:v>0.0170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6538</c:v>
                </c:pt>
                <c:pt idx="1">
                  <c:v>0.550447</c:v>
                </c:pt>
                <c:pt idx="2">
                  <c:v>0.2741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27</c:v>
                </c:pt>
                <c:pt idx="1">
                  <c:v>0.013611</c:v>
                </c:pt>
                <c:pt idx="2">
                  <c:v>0.004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42</c:v>
                </c:pt>
                <c:pt idx="1">
                  <c:v>0.004991</c:v>
                </c:pt>
                <c:pt idx="2">
                  <c:v>0.0014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11</c:v>
                </c:pt>
                <c:pt idx="1">
                  <c:v>0.00864</c:v>
                </c:pt>
                <c:pt idx="2">
                  <c:v>0.00306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996</c:v>
                </c:pt>
                <c:pt idx="1">
                  <c:v>0.004734</c:v>
                </c:pt>
                <c:pt idx="2">
                  <c:v>0.001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5</c:v>
                </c:pt>
                <c:pt idx="1">
                  <c:v>0.002085</c:v>
                </c:pt>
                <c:pt idx="2">
                  <c:v>0.00069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112</c:v>
                </c:pt>
                <c:pt idx="1">
                  <c:v>0.001894</c:v>
                </c:pt>
                <c:pt idx="2">
                  <c:v>0.00071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308</c:v>
                </c:pt>
                <c:pt idx="1">
                  <c:v>0.001809</c:v>
                </c:pt>
                <c:pt idx="2">
                  <c:v>0.00064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3041</c:v>
                </c:pt>
                <c:pt idx="1">
                  <c:v>0.011789</c:v>
                </c:pt>
                <c:pt idx="2">
                  <c:v>0.0032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21768</c:v>
                </c:pt>
                <c:pt idx="1">
                  <c:v>1.337717</c:v>
                </c:pt>
                <c:pt idx="2">
                  <c:v>0.4520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339</c:v>
                </c:pt>
                <c:pt idx="1">
                  <c:v>0.359349</c:v>
                </c:pt>
                <c:pt idx="2">
                  <c:v>0.1126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6715</c:v>
                </c:pt>
                <c:pt idx="1">
                  <c:v>0.276699</c:v>
                </c:pt>
                <c:pt idx="2">
                  <c:v>0.0975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09219</c:v>
                </c:pt>
                <c:pt idx="1">
                  <c:v>0.228709</c:v>
                </c:pt>
                <c:pt idx="2">
                  <c:v>0.0654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3047</c:v>
                </c:pt>
                <c:pt idx="1">
                  <c:v>0.138576</c:v>
                </c:pt>
                <c:pt idx="2">
                  <c:v>0.05025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5827</c:v>
                </c:pt>
                <c:pt idx="1">
                  <c:v>0.126863</c:v>
                </c:pt>
                <c:pt idx="2">
                  <c:v>0.04641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45617</c:v>
                </c:pt>
                <c:pt idx="1">
                  <c:v>0.111901</c:v>
                </c:pt>
                <c:pt idx="2">
                  <c:v>0.0381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0947</c:v>
                </c:pt>
                <c:pt idx="1">
                  <c:v>0.618243</c:v>
                </c:pt>
                <c:pt idx="2">
                  <c:v>0.1717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47</c:v>
                </c:pt>
                <c:pt idx="1">
                  <c:v>0.002808</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979</c:v>
                </c:pt>
                <c:pt idx="1">
                  <c:v>0.009139</c:v>
                </c:pt>
                <c:pt idx="2">
                  <c:v>0.0030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40864</c:v>
                </c:pt>
                <c:pt idx="1">
                  <c:v>0.118042</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544</c:v>
                </c:pt>
                <c:pt idx="1">
                  <c:v>0.488881</c:v>
                </c:pt>
                <c:pt idx="2">
                  <c:v>0.1630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338</c:v>
                </c:pt>
                <c:pt idx="1">
                  <c:v>0.002693</c:v>
                </c:pt>
                <c:pt idx="2">
                  <c:v>0.0009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587</c:v>
                </c:pt>
                <c:pt idx="1">
                  <c:v>0.008313</c:v>
                </c:pt>
                <c:pt idx="2">
                  <c:v>0.0026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2115</c:v>
                </c:pt>
                <c:pt idx="1">
                  <c:v>0.112149</c:v>
                </c:pt>
                <c:pt idx="2">
                  <c:v>0.04149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2835</c:v>
                </c:pt>
                <c:pt idx="1">
                  <c:v>0.42237</c:v>
                </c:pt>
                <c:pt idx="2">
                  <c:v>0.1395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c:v>
                </c:pt>
                <c:pt idx="1">
                  <c:v>0.000387</c:v>
                </c:pt>
                <c:pt idx="2">
                  <c:v>0.000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46</c:v>
                </c:pt>
                <c:pt idx="1">
                  <c:v>0.009199</c:v>
                </c:pt>
                <c:pt idx="2">
                  <c:v>0.00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9</c:v>
                </c:pt>
                <c:pt idx="1">
                  <c:v>0.000267</c:v>
                </c:pt>
                <c:pt idx="2">
                  <c:v>0.000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46</c:v>
                </c:pt>
                <c:pt idx="1">
                  <c:v>0.006316</c:v>
                </c:pt>
                <c:pt idx="2">
                  <c:v>0.0028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47</c:v>
                </c:pt>
                <c:pt idx="1">
                  <c:v>0.00018</c:v>
                </c:pt>
                <c:pt idx="2">
                  <c:v>6.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06</c:v>
                </c:pt>
                <c:pt idx="1">
                  <c:v>0.004239</c:v>
                </c:pt>
                <c:pt idx="2">
                  <c:v>0.0014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8</c:v>
                </c:pt>
                <c:pt idx="1">
                  <c:v>0.006602</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09</c:v>
                </c:pt>
                <c:pt idx="1">
                  <c:v>0.126367</c:v>
                </c:pt>
                <c:pt idx="2">
                  <c:v>0.050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93</c:v>
                </c:pt>
                <c:pt idx="1">
                  <c:v>0.000393</c:v>
                </c:pt>
                <c:pt idx="2">
                  <c:v>9.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766</c:v>
                </c:pt>
                <c:pt idx="1">
                  <c:v>0.005124</c:v>
                </c:pt>
                <c:pt idx="2">
                  <c:v>0.0012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9</c:v>
                </c:pt>
                <c:pt idx="1">
                  <c:v>0.000367</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869</c:v>
                </c:pt>
                <c:pt idx="1">
                  <c:v>0.004913</c:v>
                </c:pt>
                <c:pt idx="2">
                  <c:v>0.0011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1</c:v>
                </c:pt>
                <c:pt idx="1">
                  <c:v>0.000589</c:v>
                </c:pt>
                <c:pt idx="2">
                  <c:v>0.0001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1</c:v>
                </c:pt>
                <c:pt idx="1">
                  <c:v>0.007901</c:v>
                </c:pt>
                <c:pt idx="2">
                  <c:v>0.002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01</c:v>
                </c:pt>
                <c:pt idx="1">
                  <c:v>0.0004</c:v>
                </c:pt>
                <c:pt idx="2">
                  <c:v>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28</c:v>
                </c:pt>
                <c:pt idx="1">
                  <c:v>0.005367</c:v>
                </c:pt>
                <c:pt idx="2">
                  <c:v>0.000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21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629</c:v>
                </c:pt>
                <c:pt idx="1">
                  <c:v>0.002916</c:v>
                </c:pt>
                <c:pt idx="2">
                  <c:v>0.000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9</c:v>
                </c:pt>
                <c:pt idx="1">
                  <c:v>0.001916</c:v>
                </c:pt>
                <c:pt idx="2">
                  <c:v>0.0005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018</c:v>
                </c:pt>
                <c:pt idx="1">
                  <c:v>0.026038</c:v>
                </c:pt>
                <c:pt idx="2">
                  <c:v>0.0071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5</a:t>
                    </a:r>
                  </a:p>
                </c:rich>
              </c:tx>
              <c:showLegendKey val="0"/>
              <c:showVal val="1"/>
              <c:showCatName val="0"/>
              <c:showSerName val="0"/>
              <c:showPercent val="0"/>
              <c:showBubbleSize val="0"/>
            </c:dLbl>
            <c:dLbl>
              <c:idx val="2"/>
              <c:tx>
                <c:rich>
                  <a:bodyPr/>
                  <a:lstStyle/>
                  <a:p>
                    <a:r>
                      <a:rPr>
                        <a:solidFill>
                          <a:srgbClr val="FFFFFF"/>
                        </a:solidFill>
                      </a:rPr>
                      <a:t>3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980418</c:v>
                </c:pt>
                <c:pt idx="1">
                  <c:v>75.525285</c:v>
                </c:pt>
                <c:pt idx="2">
                  <c:v>36.882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15.8</a:t>
                    </a:r>
                  </a:p>
                </c:rich>
              </c:tx>
              <c:showLegendKey val="0"/>
              <c:showVal val="1"/>
              <c:showCatName val="0"/>
              <c:showSerName val="0"/>
              <c:showPercent val="0"/>
              <c:showBubbleSize val="0"/>
            </c:dLbl>
            <c:dLbl>
              <c:idx val="1"/>
              <c:tx>
                <c:rich>
                  <a:bodyPr/>
                  <a:lstStyle/>
                  <a:p>
                    <a:r>
                      <a:rPr>
                        <a:solidFill>
                          <a:srgbClr val="FFFFFF"/>
                        </a:solidFill>
                      </a:rPr>
                      <a:t>733.3</a:t>
                    </a:r>
                  </a:p>
                </c:rich>
              </c:tx>
              <c:showLegendKey val="0"/>
              <c:showVal val="1"/>
              <c:showCatName val="0"/>
              <c:showSerName val="0"/>
              <c:showPercent val="0"/>
              <c:showBubbleSize val="0"/>
            </c:dLbl>
            <c:dLbl>
              <c:idx val="2"/>
              <c:tx>
                <c:rich>
                  <a:bodyPr/>
                  <a:lstStyle/>
                  <a:p>
                    <a:r>
                      <a:rPr>
                        <a:solidFill>
                          <a:srgbClr val="FFFFFF"/>
                        </a:solidFill>
                      </a:rPr>
                      <a:t>35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5.756705</c:v>
                </c:pt>
                <c:pt idx="1">
                  <c:v>733.322161</c:v>
                </c:pt>
                <c:pt idx="2">
                  <c:v>354.6877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029</c:v>
                </c:pt>
                <c:pt idx="1">
                  <c:v>0.005295</c:v>
                </c:pt>
                <c:pt idx="2">
                  <c:v>0.0024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6604</c:v>
                </c:pt>
                <c:pt idx="1">
                  <c:v>0.049627</c:v>
                </c:pt>
                <c:pt idx="2">
                  <c:v>0.0211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0059</c:v>
                </c:pt>
                <c:pt idx="1">
                  <c:v>0.223757</c:v>
                </c:pt>
                <c:pt idx="2">
                  <c:v>0.103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31039</c:v>
                </c:pt>
                <c:pt idx="1">
                  <c:v>2.078673</c:v>
                </c:pt>
                <c:pt idx="2">
                  <c:v>0.8902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2386</c:v>
                </c:pt>
                <c:pt idx="1">
                  <c:v>0.039952</c:v>
                </c:pt>
                <c:pt idx="2">
                  <c:v>0.0118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505021</c:v>
                </c:pt>
                <c:pt idx="1">
                  <c:v>1.397665</c:v>
                </c:pt>
                <c:pt idx="2">
                  <c:v>0.4353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24</c:v>
                </c:pt>
                <c:pt idx="1">
                  <c:v>0.059178</c:v>
                </c:pt>
                <c:pt idx="2">
                  <c:v>0.02703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52684</c:v>
                </c:pt>
                <c:pt idx="1">
                  <c:v>0.515136</c:v>
                </c:pt>
                <c:pt idx="2">
                  <c:v>0.214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96281</c:v>
                </c:pt>
                <c:pt idx="1">
                  <c:v>2.487287</c:v>
                </c:pt>
                <c:pt idx="2">
                  <c:v>1.1378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0</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2.035554</c:v>
                </c:pt>
                <c:pt idx="1">
                  <c:v>20.111675</c:v>
                </c:pt>
                <c:pt idx="2">
                  <c:v>8.1410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986</c:v>
                </c:pt>
                <c:pt idx="1">
                  <c:v>0.005127</c:v>
                </c:pt>
                <c:pt idx="2">
                  <c:v>0.0021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8516</c:v>
                </c:pt>
                <c:pt idx="1">
                  <c:v>0.064724</c:v>
                </c:pt>
                <c:pt idx="2">
                  <c:v>0.0232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4021</c:v>
                </c:pt>
                <c:pt idx="1">
                  <c:v>0.216432</c:v>
                </c:pt>
                <c:pt idx="2">
                  <c:v>0.09105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606972</c:v>
                </c:pt>
                <c:pt idx="1">
                  <c:v>2.430491</c:v>
                </c:pt>
                <c:pt idx="2">
                  <c:v>0.8529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2</c:v>
                </c:pt>
                <c:pt idx="1">
                  <c:v>0.014712</c:v>
                </c:pt>
                <c:pt idx="2">
                  <c:v>0.006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5568</c:v>
                </c:pt>
                <c:pt idx="1">
                  <c:v>0.13134</c:v>
                </c:pt>
                <c:pt idx="2">
                  <c:v>0.051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48291</c:v>
                </c:pt>
                <c:pt idx="1">
                  <c:v>0.623171</c:v>
                </c:pt>
                <c:pt idx="2">
                  <c:v>0.26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401552</c:v>
                </c:pt>
                <c:pt idx="1">
                  <c:v>4.714553</c:v>
                </c:pt>
                <c:pt idx="2">
                  <c:v>1.8148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6155</c:v>
                </c:pt>
                <c:pt idx="1">
                  <c:v>0.287096</c:v>
                </c:pt>
                <c:pt idx="2">
                  <c:v>0.1103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91877</c:v>
                </c:pt>
                <c:pt idx="1">
                  <c:v>0.453826</c:v>
                </c:pt>
                <c:pt idx="2">
                  <c:v>0.2223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7712</c:v>
                </c:pt>
                <c:pt idx="1">
                  <c:v>0.579592</c:v>
                </c:pt>
                <c:pt idx="2">
                  <c:v>0.2544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005892</c:v>
                </c:pt>
                <c:pt idx="1">
                  <c:v>9.380054</c:v>
                </c:pt>
                <c:pt idx="2">
                  <c:v>4.637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6.2</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00694</c:v>
                </c:pt>
                <c:pt idx="1">
                  <c:v>26.202172</c:v>
                </c:pt>
                <c:pt idx="2">
                  <c:v>10.088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9.7</a:t>
                    </a:r>
                  </a:p>
                </c:rich>
              </c:tx>
              <c:showLegendKey val="0"/>
              <c:showVal val="1"/>
              <c:showCatName val="0"/>
              <c:showSerName val="0"/>
              <c:showPercent val="0"/>
              <c:showBubbleSize val="0"/>
            </c:dLbl>
            <c:dLbl>
              <c:idx val="1"/>
              <c:tx>
                <c:rich>
                  <a:bodyPr/>
                  <a:lstStyle/>
                  <a:p>
                    <a:r>
                      <a:rPr>
                        <a:solidFill>
                          <a:srgbClr val="FFFFFF"/>
                        </a:solidFill>
                      </a:rPr>
                      <a:t>23.4</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9.691522</c:v>
                </c:pt>
                <c:pt idx="1">
                  <c:v>23.405218</c:v>
                </c:pt>
                <c:pt idx="2">
                  <c:v>11.73197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9.4</a:t>
                    </a:r>
                  </a:p>
                </c:rich>
              </c:tx>
              <c:showLegendKey val="0"/>
              <c:showVal val="1"/>
              <c:showCatName val="0"/>
              <c:showSerName val="0"/>
              <c:showPercent val="0"/>
              <c:showBubbleSize val="0"/>
            </c:dLbl>
            <c:dLbl>
              <c:idx val="1"/>
              <c:tx>
                <c:rich>
                  <a:bodyPr/>
                  <a:lstStyle/>
                  <a:p>
                    <a:r>
                      <a:rPr>
                        <a:solidFill>
                          <a:srgbClr val="FFFFFF"/>
                        </a:solidFill>
                      </a:rPr>
                      <a:t>20.7</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381984</c:v>
                </c:pt>
                <c:pt idx="1">
                  <c:v>20.732666</c:v>
                </c:pt>
                <c:pt idx="2">
                  <c:v>9.38959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3</a:t>
                    </a:r>
                  </a:p>
                </c:rich>
              </c:tx>
              <c:showLegendKey val="0"/>
              <c:showVal val="1"/>
              <c:showCatName val="0"/>
              <c:showSerName val="0"/>
              <c:showPercent val="0"/>
              <c:showBubbleSize val="0"/>
            </c:dLbl>
            <c:dLbl>
              <c:idx val="1"/>
              <c:tx>
                <c:rich>
                  <a:bodyPr/>
                  <a:lstStyle/>
                  <a:p>
                    <a:r>
                      <a:rPr>
                        <a:solidFill>
                          <a:srgbClr val="FFFFFF"/>
                        </a:solidFill>
                      </a:rPr>
                      <a:t>279.6</a:t>
                    </a:r>
                  </a:p>
                </c:rich>
              </c:tx>
              <c:showLegendKey val="0"/>
              <c:showVal val="1"/>
              <c:showCatName val="0"/>
              <c:showSerName val="0"/>
              <c:showPercent val="0"/>
              <c:showBubbleSize val="0"/>
            </c:dLbl>
            <c:dLbl>
              <c:idx val="2"/>
              <c:tx>
                <c:rich>
                  <a:bodyPr/>
                  <a:lstStyle/>
                  <a:p>
                    <a:r>
                      <a:rPr>
                        <a:solidFill>
                          <a:srgbClr val="FFFFFF"/>
                        </a:solidFill>
                      </a:rPr>
                      <a:t>13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4.329747</c:v>
                </c:pt>
                <c:pt idx="1">
                  <c:v>279.620515</c:v>
                </c:pt>
                <c:pt idx="2">
                  <c:v>133.5312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917</c:v>
                </c:pt>
                <c:pt idx="1">
                  <c:v>0.020911</c:v>
                </c:pt>
                <c:pt idx="2">
                  <c:v>0.0063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12</c:v>
                </c:pt>
                <c:pt idx="1">
                  <c:v>0.020646</c:v>
                </c:pt>
                <c:pt idx="2">
                  <c:v>0.00864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751</c:v>
                </c:pt>
                <c:pt idx="1">
                  <c:v>0.009759</c:v>
                </c:pt>
                <c:pt idx="2">
                  <c:v>0.0033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8193</c:v>
                </c:pt>
                <c:pt idx="1">
                  <c:v>0.007006</c:v>
                </c:pt>
                <c:pt idx="2">
                  <c:v>0.00351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256</c:v>
                </c:pt>
                <c:pt idx="1">
                  <c:v>0.008806</c:v>
                </c:pt>
                <c:pt idx="2">
                  <c:v>0.00387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966</c:v>
                </c:pt>
                <c:pt idx="1">
                  <c:v>0.002788</c:v>
                </c:pt>
                <c:pt idx="2">
                  <c:v>0.00111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4</c:v>
                </c:pt>
                <c:pt idx="1">
                  <c:v>0.006716</c:v>
                </c:pt>
                <c:pt idx="2">
                  <c:v>0.00298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505</c:v>
                </c:pt>
                <c:pt idx="1">
                  <c:v>0.003956</c:v>
                </c:pt>
                <c:pt idx="2">
                  <c:v>0.00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276</c:v>
                </c:pt>
                <c:pt idx="1">
                  <c:v>0.004923</c:v>
                </c:pt>
                <c:pt idx="2">
                  <c:v>0.0018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7559</c:v>
                </c:pt>
                <c:pt idx="1">
                  <c:v>0.049798</c:v>
                </c:pt>
                <c:pt idx="2">
                  <c:v>0.019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3352</c:v>
                </c:pt>
                <c:pt idx="1">
                  <c:v>1.979061</c:v>
                </c:pt>
                <c:pt idx="2">
                  <c:v>0.6163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7678</c:v>
                </c:pt>
                <c:pt idx="1">
                  <c:v>0.65764</c:v>
                </c:pt>
                <c:pt idx="2">
                  <c:v>0.2766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483</c:v>
                </c:pt>
                <c:pt idx="1">
                  <c:v>0.640193</c:v>
                </c:pt>
                <c:pt idx="2">
                  <c:v>0.2381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487</c:v>
                </c:pt>
                <c:pt idx="1">
                  <c:v>0.475971</c:v>
                </c:pt>
                <c:pt idx="2">
                  <c:v>0.22370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11996</c:v>
                </c:pt>
                <c:pt idx="1">
                  <c:v>0.370439</c:v>
                </c:pt>
                <c:pt idx="2">
                  <c:v>0.16468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88018</c:v>
                </c:pt>
                <c:pt idx="1">
                  <c:v>0.307762</c:v>
                </c:pt>
                <c:pt idx="2">
                  <c:v>0.13006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70783</c:v>
                </c:pt>
                <c:pt idx="1">
                  <c:v>0.290342</c:v>
                </c:pt>
                <c:pt idx="2">
                  <c:v>0.1315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90147</c:v>
                </c:pt>
                <c:pt idx="1">
                  <c:v>0.269334</c:v>
                </c:pt>
                <c:pt idx="2">
                  <c:v>0.1058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46482</c:v>
                </c:pt>
                <c:pt idx="1">
                  <c:v>0.197529</c:v>
                </c:pt>
                <c:pt idx="2">
                  <c:v>0.0703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301251</c:v>
                </c:pt>
                <c:pt idx="1">
                  <c:v>2.93884</c:v>
                </c:pt>
                <c:pt idx="2">
                  <c:v>1.1654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029</c:v>
                </c:pt>
                <c:pt idx="1">
                  <c:v>0.005295</c:v>
                </c:pt>
                <c:pt idx="2">
                  <c:v>0.0024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286</c:v>
                </c:pt>
                <c:pt idx="1">
                  <c:v>0.033015</c:v>
                </c:pt>
                <c:pt idx="2">
                  <c:v>0.01316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0059</c:v>
                </c:pt>
                <c:pt idx="1">
                  <c:v>0.223757</c:v>
                </c:pt>
                <c:pt idx="2">
                  <c:v>0.103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096548</c:v>
                </c:pt>
                <c:pt idx="1">
                  <c:v>1.823357</c:v>
                </c:pt>
                <c:pt idx="2">
                  <c:v>0.7573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74</c:v>
                </c:pt>
                <c:pt idx="1">
                  <c:v>0.003256</c:v>
                </c:pt>
                <c:pt idx="2">
                  <c:v>0.001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11</c:v>
                </c:pt>
                <c:pt idx="1">
                  <c:v>0.018432</c:v>
                </c:pt>
                <c:pt idx="2">
                  <c:v>0.005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2</c:v>
                </c:pt>
                <c:pt idx="1">
                  <c:v>0.138544</c:v>
                </c:pt>
                <c:pt idx="2">
                  <c:v>0.0555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0897</c:v>
                </c:pt>
                <c:pt idx="1">
                  <c:v>1.090001</c:v>
                </c:pt>
                <c:pt idx="2">
                  <c:v>0.3379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24</c:v>
                </c:pt>
                <c:pt idx="1">
                  <c:v>0.059178</c:v>
                </c:pt>
                <c:pt idx="2">
                  <c:v>0.02703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6378</c:v>
                </c:pt>
                <c:pt idx="1">
                  <c:v>0.295205</c:v>
                </c:pt>
                <c:pt idx="2">
                  <c:v>0.1108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96281</c:v>
                </c:pt>
                <c:pt idx="1">
                  <c:v>2.487287</c:v>
                </c:pt>
                <c:pt idx="2">
                  <c:v>1.1378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0</a:t>
                    </a:r>
                  </a:p>
                </c:rich>
              </c:tx>
              <c:showLegendKey val="0"/>
              <c:showVal val="1"/>
              <c:showCatName val="0"/>
              <c:showSerName val="0"/>
              <c:showPercent val="0"/>
              <c:showBubbleSize val="0"/>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959772</c:v>
                </c:pt>
                <c:pt idx="1">
                  <c:v>16.860903</c:v>
                </c:pt>
                <c:pt idx="2">
                  <c:v>6.5183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986</c:v>
                </c:pt>
                <c:pt idx="1">
                  <c:v>0.005127</c:v>
                </c:pt>
                <c:pt idx="2">
                  <c:v>0.0021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757</c:v>
                </c:pt>
                <c:pt idx="1">
                  <c:v>0.036027</c:v>
                </c:pt>
                <c:pt idx="2">
                  <c:v>0.0116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4021</c:v>
                </c:pt>
                <c:pt idx="1">
                  <c:v>0.216432</c:v>
                </c:pt>
                <c:pt idx="2">
                  <c:v>0.09105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209503</c:v>
                </c:pt>
                <c:pt idx="1">
                  <c:v>2.018937</c:v>
                </c:pt>
                <c:pt idx="2">
                  <c:v>0.676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884</c:v>
                </c:pt>
                <c:pt idx="1">
                  <c:v>0.00183</c:v>
                </c:pt>
                <c:pt idx="2">
                  <c:v>0.0005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86</c:v>
                </c:pt>
                <c:pt idx="1">
                  <c:v>0.000861</c:v>
                </c:pt>
                <c:pt idx="2">
                  <c:v>0.0002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507</c:v>
                </c:pt>
                <c:pt idx="1">
                  <c:v>0.001007</c:v>
                </c:pt>
                <c:pt idx="2">
                  <c:v>0.0003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687</c:v>
                </c:pt>
                <c:pt idx="1">
                  <c:v>0.001904</c:v>
                </c:pt>
                <c:pt idx="2">
                  <c:v>0.00066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278</c:v>
                </c:pt>
                <c:pt idx="1">
                  <c:v>0.001028</c:v>
                </c:pt>
                <c:pt idx="2">
                  <c:v>0.0003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21</c:v>
                </c:pt>
                <c:pt idx="1">
                  <c:v>0.000599</c:v>
                </c:pt>
                <c:pt idx="2">
                  <c:v>0.00026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51</c:v>
                </c:pt>
                <c:pt idx="1">
                  <c:v>0.000337</c:v>
                </c:pt>
                <c:pt idx="2">
                  <c:v>0.00013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972</c:v>
                </c:pt>
                <c:pt idx="1">
                  <c:v>0.000697</c:v>
                </c:pt>
                <c:pt idx="2">
                  <c:v>0.00037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492</c:v>
                </c:pt>
                <c:pt idx="1">
                  <c:v>0.000391</c:v>
                </c:pt>
                <c:pt idx="2">
                  <c:v>0.00020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683</c:v>
                </c:pt>
                <c:pt idx="1">
                  <c:v>0.004824</c:v>
                </c:pt>
                <c:pt idx="2">
                  <c:v>0.0016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311</c:v>
                </c:pt>
                <c:pt idx="1">
                  <c:v>0.170305</c:v>
                </c:pt>
                <c:pt idx="2">
                  <c:v>0.0487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59</c:v>
                </c:pt>
                <c:pt idx="1">
                  <c:v>0.056823</c:v>
                </c:pt>
                <c:pt idx="2">
                  <c:v>0.0171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931</c:v>
                </c:pt>
                <c:pt idx="1">
                  <c:v>0.040108</c:v>
                </c:pt>
                <c:pt idx="2">
                  <c:v>0.01279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236</c:v>
                </c:pt>
                <c:pt idx="1">
                  <c:v>0.061515</c:v>
                </c:pt>
                <c:pt idx="2">
                  <c:v>0.0209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104</c:v>
                </c:pt>
                <c:pt idx="1">
                  <c:v>0.042775</c:v>
                </c:pt>
                <c:pt idx="2">
                  <c:v>0.01433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92</c:v>
                </c:pt>
                <c:pt idx="1">
                  <c:v>0.034115</c:v>
                </c:pt>
                <c:pt idx="2">
                  <c:v>0.01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974</c:v>
                </c:pt>
                <c:pt idx="1">
                  <c:v>0.031352</c:v>
                </c:pt>
                <c:pt idx="2">
                  <c:v>0.0130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161</c:v>
                </c:pt>
                <c:pt idx="1">
                  <c:v>0.027536</c:v>
                </c:pt>
                <c:pt idx="2">
                  <c:v>0.01502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931</c:v>
                </c:pt>
                <c:pt idx="1">
                  <c:v>0.02491</c:v>
                </c:pt>
                <c:pt idx="2">
                  <c:v>0.0120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0858</c:v>
                </c:pt>
                <c:pt idx="1">
                  <c:v>0.254097</c:v>
                </c:pt>
                <c:pt idx="2">
                  <c:v>0.0851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089</c:v>
                </c:pt>
                <c:pt idx="1">
                  <c:v>0.032967</c:v>
                </c:pt>
                <c:pt idx="2">
                  <c:v>0.00917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246</c:v>
                </c:pt>
                <c:pt idx="1">
                  <c:v>0.035025</c:v>
                </c:pt>
                <c:pt idx="2">
                  <c:v>0.0138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54</c:v>
                </c:pt>
                <c:pt idx="1">
                  <c:v>0.015695</c:v>
                </c:pt>
                <c:pt idx="2">
                  <c:v>0.00458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128</c:v>
                </c:pt>
                <c:pt idx="1">
                  <c:v>0.015947</c:v>
                </c:pt>
                <c:pt idx="2">
                  <c:v>0.00676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742</c:v>
                </c:pt>
                <c:pt idx="1">
                  <c:v>0.007687</c:v>
                </c:pt>
                <c:pt idx="2">
                  <c:v>0.00350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374</c:v>
                </c:pt>
                <c:pt idx="1">
                  <c:v>0.010091</c:v>
                </c:pt>
                <c:pt idx="2">
                  <c:v>0.00357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352</c:v>
                </c:pt>
                <c:pt idx="1">
                  <c:v>0.01123</c:v>
                </c:pt>
                <c:pt idx="2">
                  <c:v>0.0043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827</c:v>
                </c:pt>
                <c:pt idx="1">
                  <c:v>0.009729</c:v>
                </c:pt>
                <c:pt idx="2">
                  <c:v>0.0034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331</c:v>
                </c:pt>
                <c:pt idx="1">
                  <c:v>0.006657</c:v>
                </c:pt>
                <c:pt idx="2">
                  <c:v>0.0027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8087</c:v>
                </c:pt>
                <c:pt idx="1">
                  <c:v>0.070705</c:v>
                </c:pt>
                <c:pt idx="2">
                  <c:v>0.025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27897</c:v>
                </c:pt>
                <c:pt idx="1">
                  <c:v>3.085284</c:v>
                </c:pt>
                <c:pt idx="2">
                  <c:v>0.8727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1498</c:v>
                </c:pt>
                <c:pt idx="1">
                  <c:v>1.120879</c:v>
                </c:pt>
                <c:pt idx="2">
                  <c:v>0.4459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37746</c:v>
                </c:pt>
                <c:pt idx="1">
                  <c:v>1.003948</c:v>
                </c:pt>
                <c:pt idx="2">
                  <c:v>0.3112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25197</c:v>
                </c:pt>
                <c:pt idx="1">
                  <c:v>0.670364</c:v>
                </c:pt>
                <c:pt idx="2">
                  <c:v>0.28496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78992</c:v>
                </c:pt>
                <c:pt idx="1">
                  <c:v>0.491305</c:v>
                </c:pt>
                <c:pt idx="2">
                  <c:v>0.21659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682179</c:v>
                </c:pt>
                <c:pt idx="1">
                  <c:v>0.403485</c:v>
                </c:pt>
                <c:pt idx="2">
                  <c:v>0.13726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534719</c:v>
                </c:pt>
                <c:pt idx="1">
                  <c:v>0.472902</c:v>
                </c:pt>
                <c:pt idx="2">
                  <c:v>0.18501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74857</c:v>
                </c:pt>
                <c:pt idx="1">
                  <c:v>0.396847</c:v>
                </c:pt>
                <c:pt idx="2">
                  <c:v>0.14560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09685</c:v>
                </c:pt>
                <c:pt idx="1">
                  <c:v>0.370237</c:v>
                </c:pt>
                <c:pt idx="2">
                  <c:v>0.14864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577293</c:v>
                </c:pt>
                <c:pt idx="1">
                  <c:v>4.194586</c:v>
                </c:pt>
                <c:pt idx="2">
                  <c:v>1.5183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2</c:v>
                </c:pt>
                <c:pt idx="1">
                  <c:v>0.014712</c:v>
                </c:pt>
                <c:pt idx="2">
                  <c:v>0.0063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6291</c:v>
                </c:pt>
                <c:pt idx="1">
                  <c:v>0.064047</c:v>
                </c:pt>
                <c:pt idx="2">
                  <c:v>0.02258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48291</c:v>
                </c:pt>
                <c:pt idx="1">
                  <c:v>0.623171</c:v>
                </c:pt>
                <c:pt idx="2">
                  <c:v>0.26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436016</c:v>
                </c:pt>
                <c:pt idx="1">
                  <c:v>3.740861</c:v>
                </c:pt>
                <c:pt idx="2">
                  <c:v>1.38041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3/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6.xml"/></Relationships>
</file>

<file path=ppt/notesSlides/_rels/notesSlide10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3.xml"/></Relationships>
</file>

<file path=ppt/notesSlides/_rels/notesSlide10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4.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10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9.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0.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6.xml"/></Relationships>
</file>

<file path=ppt/notesSlides/_rels/notesSlide10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7.xml"/></Relationships>
</file>

<file path=ppt/notesSlides/_rels/notesSlide10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5.xml"/></Relationships>
</file>

<file path=ppt/notesSlides/_rels/notesSlide10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1.xml"/></Relationships>
</file>

<file path=ppt/notesSlides/_rels/notesSlide10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2.xml"/></Relationships>
</file>

<file path=ppt/notesSlides/_rels/notesSlide10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8.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9.xml"/></Relationships>
</file>

<file path=ppt/notesSlides/_rels/notesSlide10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6.xml"/></Relationships>
</file>

<file path=ppt/notesSlides/_rels/notesSlide10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3.xml"/></Relationships>
</file>

<file path=ppt/notesSlides/_rels/notesSlide10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4.xml"/></Relationships>
</file>

<file path=ppt/notesSlides/_rels/notesSlide10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5.xml"/></Relationships>
</file>

<file path=ppt/notesSlides/_rels/notesSlide10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0.xml"/></Relationships>
</file>

<file path=ppt/notesSlides/_rels/notesSlide10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1.xml"/></Relationships>
</file>

<file path=ppt/notesSlides/_rels/notesSlide10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6.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4.xml"/></Relationships>
</file>

<file path=ppt/notesSlides/_rels/notesSlide10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5.xml"/></Relationships>
</file>

<file path=ppt/notesSlides/_rels/notesSlide10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0.xml"/></Relationships>
</file>

<file path=ppt/notesSlides/_rels/notesSlide10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1.xml"/></Relationships>
</file>

<file path=ppt/notesSlides/_rels/notesSlide10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2.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4.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6.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8.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4.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3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0.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4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1.xml"/></Relationships>
</file>

<file path=ppt/notesSlides/_rels/notesSlide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4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4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3.xml"/></Relationships>
</file>

<file path=ppt/notesSlides/_rels/notesSlide4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4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5.xml"/></Relationships>
</file>

<file path=ppt/notesSlides/_rels/notesSlide4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1.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7.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2.xml"/></Relationships>
</file>

<file path=ppt/notesSlides/_rels/notesSlide4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0.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8.xml"/></Relationships>
</file>

<file path=ppt/notesSlides/_rels/notesSlide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9.xml"/></Relationships>
</file>

<file path=ppt/notesSlides/_rels/notesSlide4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4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4.xml"/></Relationships>
</file>

<file path=ppt/notesSlides/_rels/notesSlide4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4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4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8.xml"/></Relationships>
</file>

<file path=ppt/notesSlides/_rels/notesSlide5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3.xml"/></Relationships>
</file>

<file path=ppt/notesSlides/_rels/notesSlide5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5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9.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0.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6.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7.xml"/></Relationships>
</file>

<file path=ppt/notesSlides/_rels/notesSlide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5.xml"/></Relationships>
</file>

<file path=ppt/notesSlides/_rels/notesSlide5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1.xml"/></Relationships>
</file>

<file path=ppt/notesSlides/_rels/notesSlide5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2.xml"/></Relationships>
</file>

<file path=ppt/notesSlides/_rels/notesSlide5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3.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8.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6.xml"/></Relationships>
</file>

<file path=ppt/notesSlides/_rels/notesSlide5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3.xml"/></Relationships>
</file>

<file path=ppt/notesSlides/_rels/notesSlide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4.xml"/></Relationships>
</file>

<file path=ppt/notesSlides/_rels/notesSlide5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5.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3.xml"/></Relationships>
</file>

<file path=ppt/notesSlides/_rels/notesSlide5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4.xml"/></Relationships>
</file>

<file path=ppt/notesSlides/_rels/notesSlide5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0.xml"/></Relationships>
</file>

<file path=ppt/notesSlides/_rels/notesSlide5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1.xml"/></Relationships>
</file>

<file path=ppt/notesSlides/_rels/notesSlide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6.xml"/></Relationships>
</file>

<file path=ppt/notesSlides/_rels/notesSlide5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7.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8.xml"/></Relationships>
</file>

<file path=ppt/notesSlides/_rels/notesSlide5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6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2.xml"/></Relationships>
</file>

<file path=ppt/notesSlides/_rels/notesSlide6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3.xml"/></Relationships>
</file>

<file path=ppt/notesSlides/_rels/notesSlide6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8.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9.xml"/></Relationships>
</file>

<file path=ppt/notesSlides/_rels/notesSlide6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0.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6.xml"/></Relationships>
</file>

<file path=ppt/notesSlides/_rels/notesSlide6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4.xml"/></Relationships>
</file>

<file path=ppt/notesSlides/_rels/notesSlide6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5.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6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0.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1.xml"/></Relationships>
</file>

<file path=ppt/notesSlides/_rels/notesSlide6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2.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7.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8.xml"/></Relationships>
</file>

<file path=ppt/notesSlides/_rels/notesSlide6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3.xml"/></Relationships>
</file>

<file path=ppt/notesSlides/_rels/notesSlide6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4.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9.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0.xml"/></Relationships>
</file>

<file path=ppt/notesSlides/_rels/notesSlide6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9.xml"/></Relationships>
</file>

<file path=ppt/notesSlides/_rels/notesSlide6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0.xml"/></Relationships>
</file>

<file path=ppt/notesSlides/_rels/notesSlide6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6.xml"/></Relationships>
</file>

<file path=ppt/notesSlides/_rels/notesSlide6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7.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4.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5.xml"/></Relationships>
</file>

<file path=ppt/notesSlides/_rels/notesSlide6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1.xml"/></Relationships>
</file>

<file path=ppt/notesSlides/_rels/notesSlide6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2.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8.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9.xml"/></Relationships>
</file>

<file path=ppt/notesSlides/_rels/notesSlide7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3.xml"/></Relationships>
</file>

<file path=ppt/notesSlides/_rels/notesSlide7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4.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0.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1.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7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6.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7.xml"/></Relationships>
</file>

<file path=ppt/notesSlides/_rels/notesSlide7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5.xml"/></Relationships>
</file>

<file path=ppt/notesSlides/_rels/notesSlide7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2.xml"/></Relationships>
</file>

<file path=ppt/notesSlides/_rels/notesSlide7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3.xml"/></Relationships>
</file>

<file path=ppt/notesSlides/_rels/notesSlide7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8.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9.xml"/></Relationships>
</file>

<file path=ppt/notesSlides/_rels/notesSlide7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0.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6.xml"/></Relationships>
</file>

<file path=ppt/notesSlides/_rels/notesSlide7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4.xml"/></Relationships>
</file>

<file path=ppt/notesSlides/_rels/notesSlide7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5.xml"/></Relationships>
</file>

<file path=ppt/notesSlides/_rels/notesSlide7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6.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3.xml"/></Relationships>
</file>

<file path=ppt/notesSlides/_rels/notesSlide7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4.xml"/></Relationships>
</file>

<file path=ppt/notesSlides/_rels/notesSlide7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5.xml"/></Relationships>
</file>

<file path=ppt/notesSlides/_rels/notesSlide7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0.xml"/></Relationships>
</file>

<file path=ppt/notesSlides/_rels/notesSlide7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1.xml"/></Relationships>
</file>

<file path=ppt/notesSlides/_rels/notesSlide7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7.xml"/></Relationships>
</file>

<file path=ppt/notesSlides/_rels/notesSlide7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8.xml"/></Relationships>
</file>

<file path=ppt/notesSlides/_rels/notesSlide8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2.xml"/></Relationships>
</file>

<file path=ppt/notesSlides/_rels/notesSlide8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3.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9.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0.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6.xml"/></Relationships>
</file>

<file path=ppt/notesSlides/_rels/notesSlide8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7.xml"/></Relationships>
</file>

<file path=ppt/notesSlides/_rels/notesSlide8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4.xml"/></Relationships>
</file>

<file path=ppt/notesSlides/_rels/notesSlide8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5.xml"/></Relationships>
</file>

<file path=ppt/notesSlides/_rels/notesSlide8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1.xml"/></Relationships>
</file>

<file path=ppt/notesSlides/_rels/notesSlide8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2.xml"/></Relationships>
</file>

<file path=ppt/notesSlides/_rels/notesSlide8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7.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8.xml"/></Relationships>
</file>

<file path=ppt/notesSlides/_rels/notesSlide8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9.xml"/></Relationships>
</file>

<file path=ppt/notesSlides/_rels/notesSlide8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3.xml"/></Relationships>
</file>

<file path=ppt/notesSlides/_rels/notesSlide8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4.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0.xml"/></Relationships>
</file>

<file path=ppt/notesSlides/_rels/notesSlide8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8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9.xml"/></Relationships>
</file>

<file path=ppt/notesSlides/_rels/notesSlide8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0.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8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6.xml"/></Relationships>
</file>

<file path=ppt/notesSlides/_rels/notesSlide8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7.xml"/></Relationships>
</file>

<file path=ppt/notesSlides/_rels/notesSlide8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5.xml"/></Relationships>
</file>

<file path=ppt/notesSlides/_rels/notesSlide8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1.xml"/></Relationships>
</file>

<file path=ppt/notesSlides/_rels/notesSlide8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2.xml"/></Relationships>
</file>

<file path=ppt/notesSlides/_rels/notesSlide8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3.xml"/></Relationships>
</file>

<file path=ppt/notesSlides/_rels/notesSlide9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8.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9.xml"/></Relationships>
</file>

<file path=ppt/notesSlides/_rels/notesSlide9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6.xml"/></Relationships>
</file>

<file path=ppt/notesSlides/_rels/notesSlide9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3.xml"/></Relationships>
</file>

<file path=ppt/notesSlides/_rels/notesSlide9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4.xml"/></Relationships>
</file>

<file path=ppt/notesSlides/_rels/notesSlide9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5.xml"/></Relationships>
</file>

<file path=ppt/notesSlides/_rels/notesSlide9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0.xml"/></Relationships>
</file>

<file path=ppt/notesSlides/_rels/notesSlide9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1.xml"/></Relationships>
</file>

<file path=ppt/notesSlides/_rels/notesSlide9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7.xml"/></Relationships>
</file>

<file path=ppt/notesSlides/_rels/notesSlide9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8.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9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2.xml"/></Relationships>
</file>

<file path=ppt/notesSlides/_rels/notesSlide9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3.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9.xml"/></Relationships>
</file>

<file path=ppt/notesSlides/_rels/notesSlide9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0.xml"/></Relationships>
</file>

<file path=ppt/notesSlides/_rels/notesSlide9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6.xml"/></Relationships>
</file>

<file path=ppt/notesSlides/_rels/notesSlide9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7.xml"/></Relationships>
</file>

<file path=ppt/notesSlides/_rels/notesSlide9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4.xml"/></Relationships>
</file>

<file path=ppt/notesSlides/_rels/notesSlide9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5.xml"/></Relationships>
</file>

<file path=ppt/notesSlides/_rels/notesSlide9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6.xml"/></Relationships>
</file>

<file path=ppt/notesSlides/_rels/notesSlide9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4.xml"/></Relationships>
</file>

<file path=ppt/notesSlides/_rels/notesSlide9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5.xml"/></Relationships>
</file>

<file path=ppt/notesSlides/_rels/notesSlide9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0.xml"/></Relationships>
</file>

<file path=ppt/notesSlides/_rels/notesSlide9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1.xml"/></Relationships>
</file>

<file path=ppt/notesSlides/_rels/notesSlide9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2.xml"/></Relationships>
</file>

<file path=ppt/notesSlides/_rels/notesSlide9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7.xml"/></Relationships>
</file>

<file path=ppt/notesSlides/_rels/notesSlide9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8.xml"/></Relationship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3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3/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 Id="rId6"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 Id="rId6" Type="http://schemas.openxmlformats.org/officeDocument/2006/relationships/chart" Target="../charts/chart202.xml"/></Relationships>
</file>

<file path=ppt/slides/_rels/slide10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xml"/><Relationship Id="rId3" Type="http://schemas.openxmlformats.org/officeDocument/2006/relationships/chart" Target="../charts/chart2025.xml"/><Relationship Id="rId4" Type="http://schemas.openxmlformats.org/officeDocument/2006/relationships/chart" Target="../charts/chart2026.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xml"/><Relationship Id="rId3" Type="http://schemas.openxmlformats.org/officeDocument/2006/relationships/chart" Target="../charts/chart2027.xml"/><Relationship Id="rId4" Type="http://schemas.openxmlformats.org/officeDocument/2006/relationships/chart" Target="../charts/chart2028.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2039.xml"/><Relationship Id="rId4" Type="http://schemas.openxmlformats.org/officeDocument/2006/relationships/chart" Target="../charts/chart2040.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xml"/><Relationship Id="rId3" Type="http://schemas.openxmlformats.org/officeDocument/2006/relationships/chart" Target="../charts/chart2041.xml"/><Relationship Id="rId4" Type="http://schemas.openxmlformats.org/officeDocument/2006/relationships/chart" Target="../charts/chart2042.xml"/></Relationships>
</file>

<file path=ppt/slides/_rels/slide10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2051.xml"/><Relationship Id="rId4" Type="http://schemas.openxmlformats.org/officeDocument/2006/relationships/chart" Target="../charts/chart2052.xml"/></Relationships>
</file>

<file path=ppt/slides/_rels/slide10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2053.xml"/><Relationship Id="rId4" Type="http://schemas.openxmlformats.org/officeDocument/2006/relationships/chart" Target="../charts/chart2054.xml"/></Relationships>
</file>

<file path=ppt/slides/_rels/slide10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xml"/><Relationship Id="rId3" Type="http://schemas.openxmlformats.org/officeDocument/2006/relationships/chart" Target="../charts/chart2055.xml"/><Relationship Id="rId4" Type="http://schemas.openxmlformats.org/officeDocument/2006/relationships/chart" Target="../charts/chart2056.xml"/></Relationships>
</file>

<file path=ppt/slides/_rels/slide10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9.xml"/><Relationship Id="rId3" Type="http://schemas.openxmlformats.org/officeDocument/2006/relationships/chart" Target="../charts/chart2069.xml"/><Relationship Id="rId4" Type="http://schemas.openxmlformats.org/officeDocument/2006/relationships/chart" Target="../charts/chart2070.xml"/></Relationships>
</file>

<file path=ppt/slides/_rels/slide10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6.xml"/><Relationship Id="rId3" Type="http://schemas.openxmlformats.org/officeDocument/2006/relationships/chart" Target="../charts/chart2083.xml"/><Relationship Id="rId4" Type="http://schemas.openxmlformats.org/officeDocument/2006/relationships/chart" Target="../charts/chart2084.xml"/></Relationships>
</file>

<file path=ppt/slides/_rels/slide10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7.xml"/><Relationship Id="rId3" Type="http://schemas.openxmlformats.org/officeDocument/2006/relationships/chart" Target="../charts/chart2085.xml"/><Relationship Id="rId4" Type="http://schemas.openxmlformats.org/officeDocument/2006/relationships/chart" Target="../charts/chart2086.xml"/></Relationships>
</file>

<file path=ppt/slides/_rels/slide10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2.xml"/><Relationship Id="rId3" Type="http://schemas.openxmlformats.org/officeDocument/2006/relationships/chart" Target="../charts/chart2095.xml"/><Relationship Id="rId4" Type="http://schemas.openxmlformats.org/officeDocument/2006/relationships/chart" Target="../charts/chart2096.xml"/></Relationships>
</file>

<file path=ppt/slides/_rels/slide10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2097.xml"/><Relationship Id="rId4" Type="http://schemas.openxmlformats.org/officeDocument/2006/relationships/chart" Target="../charts/chart2098.xml"/></Relationships>
</file>

<file path=ppt/slides/_rels/slide10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2099.xml"/><Relationship Id="rId4" Type="http://schemas.openxmlformats.org/officeDocument/2006/relationships/chart" Target="../charts/chart2100.xml"/></Relationships>
</file>

<file path=ppt/slides/_rels/slide10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2111.xml"/><Relationship Id="rId4" Type="http://schemas.openxmlformats.org/officeDocument/2006/relationships/chart" Target="../charts/chart2112.xml"/></Relationships>
</file>

<file path=ppt/slides/_rels/slide10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8.xml"/><Relationship Id="rId3" Type="http://schemas.openxmlformats.org/officeDocument/2006/relationships/chart" Target="../charts/chart2127.xml"/><Relationship Id="rId4" Type="http://schemas.openxmlformats.org/officeDocument/2006/relationships/chart" Target="../charts/chart2128.xml"/></Relationships>
</file>

<file path=ppt/slides/_rels/slide10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2129.xml"/><Relationship Id="rId4" Type="http://schemas.openxmlformats.org/officeDocument/2006/relationships/chart" Target="../charts/chart2130.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 Id="rId6" Type="http://schemas.openxmlformats.org/officeDocument/2006/relationships/chart" Target="../charts/chart214.xml"/></Relationships>
</file>

<file path=ppt/slides/_rels/slide10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2141.xml"/><Relationship Id="rId4" Type="http://schemas.openxmlformats.org/officeDocument/2006/relationships/chart" Target="../charts/chart2142.xml"/></Relationships>
</file>

<file path=ppt/slides/_rels/slide10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2143.xml"/><Relationship Id="rId4" Type="http://schemas.openxmlformats.org/officeDocument/2006/relationships/chart" Target="../charts/chart2144.xml"/></Relationships>
</file>

<file path=ppt/slides/_rels/slide10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2153.xml"/><Relationship Id="rId4" Type="http://schemas.openxmlformats.org/officeDocument/2006/relationships/chart" Target="../charts/chart2154.xml"/></Relationships>
</file>

<file path=ppt/slides/_rels/slide10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2155.xml"/><Relationship Id="rId4" Type="http://schemas.openxmlformats.org/officeDocument/2006/relationships/chart" Target="../charts/chart2156.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 Id="rId6" Type="http://schemas.openxmlformats.org/officeDocument/2006/relationships/chart" Target="../charts/chart216.xml"/></Relationships>
</file>

<file path=ppt/slides/_rels/slide10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7.xml"/><Relationship Id="rId3" Type="http://schemas.openxmlformats.org/officeDocument/2006/relationships/chart" Target="../charts/chart2185.xml"/><Relationship Id="rId4" Type="http://schemas.openxmlformats.org/officeDocument/2006/relationships/chart" Target="../charts/chart2186.xml"/></Relationships>
</file>

<file path=ppt/slides/_rels/slide10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2187.xml"/><Relationship Id="rId4" Type="http://schemas.openxmlformats.org/officeDocument/2006/relationships/chart" Target="../charts/chart2188.xml"/></Relationships>
</file>

<file path=ppt/slides/_rels/slide1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6.xml"/><Relationship Id="rId3" Type="http://schemas.openxmlformats.org/officeDocument/2006/relationships/chart" Target="../charts/chart2203.xml"/><Relationship Id="rId4" Type="http://schemas.openxmlformats.org/officeDocument/2006/relationships/chart" Target="../charts/chart2204.xml"/></Relationships>
</file>

<file path=ppt/slides/_rels/slide1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2205.xml"/><Relationship Id="rId4" Type="http://schemas.openxmlformats.org/officeDocument/2006/relationships/chart" Target="../charts/chart2206.xml"/></Relationships>
</file>

<file path=ppt/slides/_rels/slide1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3.xml"/><Relationship Id="rId3" Type="http://schemas.openxmlformats.org/officeDocument/2006/relationships/chart" Target="../charts/chart2217.xml"/><Relationship Id="rId4" Type="http://schemas.openxmlformats.org/officeDocument/2006/relationships/chart" Target="../charts/chart2218.xml"/></Relationships>
</file>

<file path=ppt/slides/_rels/slide1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4.xml"/><Relationship Id="rId3" Type="http://schemas.openxmlformats.org/officeDocument/2006/relationships/chart" Target="../charts/chart2219.xml"/><Relationship Id="rId4" Type="http://schemas.openxmlformats.org/officeDocument/2006/relationships/chart" Target="../charts/chart2220.xml"/></Relationships>
</file>

<file path=ppt/slides/_rels/slide1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0.xml"/><Relationship Id="rId3" Type="http://schemas.openxmlformats.org/officeDocument/2006/relationships/chart" Target="../charts/chart2231.xml"/><Relationship Id="rId4" Type="http://schemas.openxmlformats.org/officeDocument/2006/relationships/chart" Target="../charts/chart2232.xml"/></Relationships>
</file>

<file path=ppt/slides/_rels/slide1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1.xml"/><Relationship Id="rId3" Type="http://schemas.openxmlformats.org/officeDocument/2006/relationships/chart" Target="../charts/chart2233.xml"/><Relationship Id="rId4" Type="http://schemas.openxmlformats.org/officeDocument/2006/relationships/chart" Target="../charts/chart2234.xml"/></Relationships>
</file>

<file path=ppt/slides/_rels/slide1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8.xml"/><Relationship Id="rId3" Type="http://schemas.openxmlformats.org/officeDocument/2006/relationships/chart" Target="../charts/chart2247.xml"/><Relationship Id="rId4" Type="http://schemas.openxmlformats.org/officeDocument/2006/relationships/chart" Target="../charts/chart2248.xml"/></Relationships>
</file>

<file path=ppt/slides/_rels/slide1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9.xml"/><Relationship Id="rId3" Type="http://schemas.openxmlformats.org/officeDocument/2006/relationships/chart" Target="../charts/chart2249.xml"/><Relationship Id="rId4" Type="http://schemas.openxmlformats.org/officeDocument/2006/relationships/chart" Target="../charts/chart2250.xml"/></Relationships>
</file>

<file path=ppt/slides/_rels/slide1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5.xml"/><Relationship Id="rId3" Type="http://schemas.openxmlformats.org/officeDocument/2006/relationships/chart" Target="../charts/chart2261.xml"/><Relationship Id="rId4" Type="http://schemas.openxmlformats.org/officeDocument/2006/relationships/chart" Target="../charts/chart2262.xml"/></Relationships>
</file>

<file path=ppt/slides/_rels/slide1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6.xml"/><Relationship Id="rId3" Type="http://schemas.openxmlformats.org/officeDocument/2006/relationships/chart" Target="../charts/chart2263.xml"/><Relationship Id="rId4" Type="http://schemas.openxmlformats.org/officeDocument/2006/relationships/chart" Target="../charts/chart2264.xml"/></Relationships>
</file>

<file path=ppt/slides/_rels/slide1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2275.xml"/><Relationship Id="rId4" Type="http://schemas.openxmlformats.org/officeDocument/2006/relationships/chart" Target="../charts/chart2276.xml"/></Relationships>
</file>

<file path=ppt/slides/_rels/slide1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2277.xml"/><Relationship Id="rId4" Type="http://schemas.openxmlformats.org/officeDocument/2006/relationships/chart" Target="../charts/chart2278.xml"/></Relationships>
</file>

<file path=ppt/slides/_rels/slide1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7.xml"/><Relationship Id="rId3" Type="http://schemas.openxmlformats.org/officeDocument/2006/relationships/chart" Target="../charts/chart2305.xml"/><Relationship Id="rId4" Type="http://schemas.openxmlformats.org/officeDocument/2006/relationships/chart" Target="../charts/chart2306.xml"/></Relationships>
</file>

<file path=ppt/slides/_rels/slide1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8.xml"/><Relationship Id="rId3" Type="http://schemas.openxmlformats.org/officeDocument/2006/relationships/chart" Target="../charts/chart2307.xml"/><Relationship Id="rId4" Type="http://schemas.openxmlformats.org/officeDocument/2006/relationships/chart" Target="../charts/chart2308.xml"/></Relationships>
</file>

<file path=ppt/slides/_rels/slide1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2319.xml"/><Relationship Id="rId4" Type="http://schemas.openxmlformats.org/officeDocument/2006/relationships/chart" Target="../charts/chart2320.xml"/></Relationships>
</file>

<file path=ppt/slides/_rels/slide1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2321.xml"/><Relationship Id="rId4" Type="http://schemas.openxmlformats.org/officeDocument/2006/relationships/chart" Target="../charts/chart2322.xml"/></Relationships>
</file>

<file path=ppt/slides/_rels/slide1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0.xml"/><Relationship Id="rId3" Type="http://schemas.openxmlformats.org/officeDocument/2006/relationships/chart" Target="../charts/chart2331.xml"/><Relationship Id="rId4" Type="http://schemas.openxmlformats.org/officeDocument/2006/relationships/chart" Target="../charts/chart2332.xml"/></Relationships>
</file>

<file path=ppt/slides/_rels/slide1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2333.xml"/><Relationship Id="rId4" Type="http://schemas.openxmlformats.org/officeDocument/2006/relationships/chart" Target="../charts/chart2334.xml"/></Relationships>
</file>

<file path=ppt/slides/_rels/slide1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2.xml"/><Relationship Id="rId3" Type="http://schemas.openxmlformats.org/officeDocument/2006/relationships/chart" Target="../charts/chart2335.xml"/><Relationship Id="rId4" Type="http://schemas.openxmlformats.org/officeDocument/2006/relationships/chart" Target="../charts/chart2336.xml"/></Relationships>
</file>

<file path=ppt/slides/_rels/slide1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9.xml"/><Relationship Id="rId3" Type="http://schemas.openxmlformats.org/officeDocument/2006/relationships/chart" Target="../charts/chart2349.xml"/><Relationship Id="rId4" Type="http://schemas.openxmlformats.org/officeDocument/2006/relationships/chart" Target="../charts/chart2350.xml"/></Relationships>
</file>

<file path=ppt/slides/_rels/slide1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6.xml"/><Relationship Id="rId3" Type="http://schemas.openxmlformats.org/officeDocument/2006/relationships/chart" Target="../charts/chart2363.xml"/><Relationship Id="rId4" Type="http://schemas.openxmlformats.org/officeDocument/2006/relationships/chart" Target="../charts/chart2364.xml"/></Relationships>
</file>

<file path=ppt/slides/_rels/slide1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7.xml"/><Relationship Id="rId3" Type="http://schemas.openxmlformats.org/officeDocument/2006/relationships/chart" Target="../charts/chart2365.xml"/><Relationship Id="rId4" Type="http://schemas.openxmlformats.org/officeDocument/2006/relationships/chart" Target="../charts/chart2366.xml"/></Relationships>
</file>

<file path=ppt/slides/_rels/slide1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2.xml"/><Relationship Id="rId3" Type="http://schemas.openxmlformats.org/officeDocument/2006/relationships/chart" Target="../charts/chart2375.xml"/><Relationship Id="rId4" Type="http://schemas.openxmlformats.org/officeDocument/2006/relationships/chart" Target="../charts/chart2376.xml"/></Relationships>
</file>

<file path=ppt/slides/_rels/slide1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2377.xml"/><Relationship Id="rId4" Type="http://schemas.openxmlformats.org/officeDocument/2006/relationships/chart" Target="../charts/chart2378.xml"/></Relationships>
</file>

<file path=ppt/slides/_rels/slide1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2379.xml"/><Relationship Id="rId4" Type="http://schemas.openxmlformats.org/officeDocument/2006/relationships/chart" Target="../charts/chart2380.xml"/></Relationships>
</file>

<file path=ppt/slides/_rels/slide1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2.xml"/><Relationship Id="rId3" Type="http://schemas.openxmlformats.org/officeDocument/2006/relationships/chart" Target="../charts/chart2395.xml"/><Relationship Id="rId4" Type="http://schemas.openxmlformats.org/officeDocument/2006/relationships/chart" Target="../charts/chart2396.xml"/></Relationships>
</file>

<file path=ppt/slides/_rels/slide1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3.xml"/><Relationship Id="rId3" Type="http://schemas.openxmlformats.org/officeDocument/2006/relationships/chart" Target="../charts/chart2397.xml"/><Relationship Id="rId4" Type="http://schemas.openxmlformats.org/officeDocument/2006/relationships/chart" Target="../charts/chart2398.xml"/></Relationships>
</file>

<file path=ppt/slides/_rels/slide1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0.xml"/><Relationship Id="rId3" Type="http://schemas.openxmlformats.org/officeDocument/2006/relationships/chart" Target="../charts/chart2411.xml"/><Relationship Id="rId4" Type="http://schemas.openxmlformats.org/officeDocument/2006/relationships/chart" Target="../charts/chart2412.xml"/></Relationships>
</file>

<file path=ppt/slides/_rels/slide1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2425.xml"/><Relationship Id="rId4" Type="http://schemas.openxmlformats.org/officeDocument/2006/relationships/chart" Target="../charts/chart2426.xml"/></Relationships>
</file>

<file path=ppt/slides/_rels/slide1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8.xml"/><Relationship Id="rId3" Type="http://schemas.openxmlformats.org/officeDocument/2006/relationships/chart" Target="../charts/chart2427.xml"/><Relationship Id="rId4" Type="http://schemas.openxmlformats.org/officeDocument/2006/relationships/chart" Target="../charts/chart2428.xml"/></Relationships>
</file>

<file path=ppt/slides/_rels/slide1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9.xml"/><Relationship Id="rId3" Type="http://schemas.openxmlformats.org/officeDocument/2006/relationships/chart" Target="../charts/chart2429.xml"/><Relationship Id="rId4" Type="http://schemas.openxmlformats.org/officeDocument/2006/relationships/chart" Target="../charts/chart2430.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 Id="rId6" Type="http://schemas.openxmlformats.org/officeDocument/2006/relationships/chart" Target="../charts/chart244.xml"/></Relationships>
</file>

<file path=ppt/slides/_rels/slide1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4.xml"/><Relationship Id="rId3" Type="http://schemas.openxmlformats.org/officeDocument/2006/relationships/chart" Target="../charts/chart2439.xml"/><Relationship Id="rId4" Type="http://schemas.openxmlformats.org/officeDocument/2006/relationships/chart" Target="../charts/chart2440.xml"/></Relationships>
</file>

<file path=ppt/slides/_rels/slide1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5.xml"/><Relationship Id="rId3" Type="http://schemas.openxmlformats.org/officeDocument/2006/relationships/chart" Target="../charts/chart2441.xml"/><Relationship Id="rId4" Type="http://schemas.openxmlformats.org/officeDocument/2006/relationships/chart" Target="../charts/chart2442.xml"/></Relationships>
</file>

<file path=ppt/slides/_rels/slide1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2453.xml"/><Relationship Id="rId4" Type="http://schemas.openxmlformats.org/officeDocument/2006/relationships/chart" Target="../charts/chart2454.xml"/></Relationships>
</file>

<file path=ppt/slides/_rels/slide1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2455.xml"/><Relationship Id="rId4" Type="http://schemas.openxmlformats.org/officeDocument/2006/relationships/chart" Target="../charts/chart2456.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 Id="rId6"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 Id="rId6" Type="http://schemas.openxmlformats.org/officeDocument/2006/relationships/chart" Target="../charts/chart248.xml"/></Relationships>
</file>

<file path=ppt/slides/_rels/slide1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6.xml"/><Relationship Id="rId3" Type="http://schemas.openxmlformats.org/officeDocument/2006/relationships/chart" Target="../charts/chart2483.xml"/><Relationship Id="rId4" Type="http://schemas.openxmlformats.org/officeDocument/2006/relationships/chart" Target="../charts/chart2484.xml"/></Relationships>
</file>

<file path=ppt/slides/_rels/slide1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7.xml"/><Relationship Id="rId3" Type="http://schemas.openxmlformats.org/officeDocument/2006/relationships/chart" Target="../charts/chart2485.xml"/><Relationship Id="rId4" Type="http://schemas.openxmlformats.org/officeDocument/2006/relationships/chart" Target="../charts/chart2486.xml"/></Relationships>
</file>

<file path=ppt/slides/_rels/slide1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2497.xml"/><Relationship Id="rId4" Type="http://schemas.openxmlformats.org/officeDocument/2006/relationships/chart" Target="../charts/chart2498.xml"/></Relationships>
</file>

<file path=ppt/slides/_rels/slide1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2499.xml"/><Relationship Id="rId4" Type="http://schemas.openxmlformats.org/officeDocument/2006/relationships/chart" Target="../charts/chart2500.xml"/></Relationships>
</file>

<file path=ppt/slides/_rels/slide1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2511.xml"/><Relationship Id="rId4" Type="http://schemas.openxmlformats.org/officeDocument/2006/relationships/chart" Target="../charts/chart2512.xml"/></Relationships>
</file>

<file path=ppt/slides/_rels/slide1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2513.xml"/><Relationship Id="rId4" Type="http://schemas.openxmlformats.org/officeDocument/2006/relationships/chart" Target="../charts/chart2514.xml"/></Relationships>
</file>

<file path=ppt/slides/_rels/slide1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8.xml"/><Relationship Id="rId3" Type="http://schemas.openxmlformats.org/officeDocument/2006/relationships/chart" Target="../charts/chart2527.xml"/><Relationship Id="rId4" Type="http://schemas.openxmlformats.org/officeDocument/2006/relationships/chart" Target="../charts/chart2528.xml"/></Relationships>
</file>

<file path=ppt/slides/_rels/slide1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9.xml"/><Relationship Id="rId3" Type="http://schemas.openxmlformats.org/officeDocument/2006/relationships/chart" Target="../charts/chart2529.xml"/><Relationship Id="rId4" Type="http://schemas.openxmlformats.org/officeDocument/2006/relationships/chart" Target="../charts/chart2530.xml"/></Relationships>
</file>

<file path=ppt/slides/_rels/slide1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5.xml"/><Relationship Id="rId3" Type="http://schemas.openxmlformats.org/officeDocument/2006/relationships/chart" Target="../charts/chart2541.xml"/><Relationship Id="rId4" Type="http://schemas.openxmlformats.org/officeDocument/2006/relationships/chart" Target="../charts/chart2542.xml"/></Relationships>
</file>

<file path=ppt/slides/_rels/slide1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6.xml"/><Relationship Id="rId3" Type="http://schemas.openxmlformats.org/officeDocument/2006/relationships/chart" Target="../charts/chart2543.xml"/><Relationship Id="rId4" Type="http://schemas.openxmlformats.org/officeDocument/2006/relationships/chart" Target="../charts/chart2544.xml"/></Relationships>
</file>

<file path=ppt/slides/_rels/slide1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2555.xml"/><Relationship Id="rId4" Type="http://schemas.openxmlformats.org/officeDocument/2006/relationships/chart" Target="../charts/chart2556.xml"/></Relationships>
</file>

<file path=ppt/slides/_rels/slide1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2557.xml"/><Relationship Id="rId4" Type="http://schemas.openxmlformats.org/officeDocument/2006/relationships/chart" Target="../charts/chart255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 Id="rId6" Type="http://schemas.openxmlformats.org/officeDocument/2006/relationships/chart" Target="../charts/chart258.xml"/></Relationships>
</file>

<file path=ppt/slides/_rels/slide1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7.xml"/><Relationship Id="rId3" Type="http://schemas.openxmlformats.org/officeDocument/2006/relationships/chart" Target="../charts/chart2585.xml"/><Relationship Id="rId4" Type="http://schemas.openxmlformats.org/officeDocument/2006/relationships/chart" Target="../charts/chart2586.xml"/></Relationships>
</file>

<file path=ppt/slides/_rels/slide1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8.xml"/><Relationship Id="rId3" Type="http://schemas.openxmlformats.org/officeDocument/2006/relationships/chart" Target="../charts/chart2587.xml"/><Relationship Id="rId4" Type="http://schemas.openxmlformats.org/officeDocument/2006/relationships/chart" Target="../charts/chart2588.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 Id="rId6" Type="http://schemas.openxmlformats.org/officeDocument/2006/relationships/chart" Target="../charts/chart260.xml"/></Relationships>
</file>

<file path=ppt/slides/_rels/slide1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7.xml"/><Relationship Id="rId3" Type="http://schemas.openxmlformats.org/officeDocument/2006/relationships/chart" Target="../charts/chart2605.xml"/><Relationship Id="rId4" Type="http://schemas.openxmlformats.org/officeDocument/2006/relationships/chart" Target="../charts/chart2606.xml"/></Relationships>
</file>

<file path=ppt/slides/_rels/slide1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8.xml"/><Relationship Id="rId3" Type="http://schemas.openxmlformats.org/officeDocument/2006/relationships/chart" Target="../charts/chart2607.xml"/><Relationship Id="rId4" Type="http://schemas.openxmlformats.org/officeDocument/2006/relationships/chart" Target="../charts/chart2608.xml"/></Relationships>
</file>

<file path=ppt/slides/_rels/slide1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3.xml"/><Relationship Id="rId3" Type="http://schemas.openxmlformats.org/officeDocument/2006/relationships/chart" Target="../charts/chart2617.xml"/><Relationship Id="rId4" Type="http://schemas.openxmlformats.org/officeDocument/2006/relationships/chart" Target="../charts/chart2618.xml"/></Relationships>
</file>

<file path=ppt/slides/_rels/slide1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4.xml"/><Relationship Id="rId3" Type="http://schemas.openxmlformats.org/officeDocument/2006/relationships/chart" Target="../charts/chart2619.xml"/><Relationship Id="rId4" Type="http://schemas.openxmlformats.org/officeDocument/2006/relationships/chart" Target="../charts/chart2620.xml"/></Relationships>
</file>

<file path=ppt/slides/_rels/slide1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0.xml"/><Relationship Id="rId3" Type="http://schemas.openxmlformats.org/officeDocument/2006/relationships/chart" Target="../charts/chart2631.xml"/><Relationship Id="rId4" Type="http://schemas.openxmlformats.org/officeDocument/2006/relationships/chart" Target="../charts/chart2632.xml"/></Relationships>
</file>

<file path=ppt/slides/_rels/slide1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1.xml"/><Relationship Id="rId3" Type="http://schemas.openxmlformats.org/officeDocument/2006/relationships/chart" Target="../charts/chart2633.xml"/><Relationship Id="rId4" Type="http://schemas.openxmlformats.org/officeDocument/2006/relationships/chart" Target="../charts/chart2634.xml"/></Relationships>
</file>

<file path=ppt/slides/_rels/slide1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9.xml"/><Relationship Id="rId3" Type="http://schemas.openxmlformats.org/officeDocument/2006/relationships/chart" Target="../charts/chart2649.xml"/><Relationship Id="rId4" Type="http://schemas.openxmlformats.org/officeDocument/2006/relationships/chart" Target="../charts/chart2650.xml"/></Relationships>
</file>

<file path=ppt/slides/_rels/slide1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5.xml"/><Relationship Id="rId3" Type="http://schemas.openxmlformats.org/officeDocument/2006/relationships/chart" Target="../charts/chart2661.xml"/><Relationship Id="rId4" Type="http://schemas.openxmlformats.org/officeDocument/2006/relationships/chart" Target="../charts/chart2662.xml"/></Relationships>
</file>

<file path=ppt/slides/_rels/slide1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6.xml"/><Relationship Id="rId3" Type="http://schemas.openxmlformats.org/officeDocument/2006/relationships/chart" Target="../charts/chart2663.xml"/><Relationship Id="rId4" Type="http://schemas.openxmlformats.org/officeDocument/2006/relationships/chart" Target="../charts/chart2664.xml"/></Relationships>
</file>

<file path=ppt/slides/_rels/slide1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7.xml"/><Relationship Id="rId3" Type="http://schemas.openxmlformats.org/officeDocument/2006/relationships/chart" Target="../charts/chart2665.xml"/><Relationship Id="rId4" Type="http://schemas.openxmlformats.org/officeDocument/2006/relationships/chart" Target="../charts/chart2666.xml"/></Relationships>
</file>

<file path=ppt/slides/_rels/slide1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2.xml"/><Relationship Id="rId3" Type="http://schemas.openxmlformats.org/officeDocument/2006/relationships/chart" Target="../charts/chart2675.xml"/><Relationship Id="rId4" Type="http://schemas.openxmlformats.org/officeDocument/2006/relationships/chart" Target="../charts/chart2676.xml"/></Relationships>
</file>

<file path=ppt/slides/_rels/slide1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2677.xml"/><Relationship Id="rId4" Type="http://schemas.openxmlformats.org/officeDocument/2006/relationships/chart" Target="../charts/chart2678.xml"/></Relationships>
</file>

<file path=ppt/slides/_rels/slide1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2691.xml"/><Relationship Id="rId4" Type="http://schemas.openxmlformats.org/officeDocument/2006/relationships/chart" Target="../charts/chart2692.xml"/></Relationships>
</file>

<file path=ppt/slides/_rels/slide1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7.xml"/><Relationship Id="rId3" Type="http://schemas.openxmlformats.org/officeDocument/2006/relationships/chart" Target="../charts/chart2705.xml"/><Relationship Id="rId4" Type="http://schemas.openxmlformats.org/officeDocument/2006/relationships/chart" Target="../charts/chart2706.xml"/></Relationships>
</file>

<file path=ppt/slides/_rels/slide1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8.xml"/><Relationship Id="rId3" Type="http://schemas.openxmlformats.org/officeDocument/2006/relationships/chart" Target="../charts/chart2707.xml"/><Relationship Id="rId4" Type="http://schemas.openxmlformats.org/officeDocument/2006/relationships/chart" Target="../charts/chart2708.xml"/></Relationships>
</file>

<file path=ppt/slides/_rels/slide1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9.xml"/><Relationship Id="rId3" Type="http://schemas.openxmlformats.org/officeDocument/2006/relationships/chart" Target="../charts/chart2709.xml"/><Relationship Id="rId4" Type="http://schemas.openxmlformats.org/officeDocument/2006/relationships/chart" Target="../charts/chart271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 Id="rId6" Type="http://schemas.openxmlformats.org/officeDocument/2006/relationships/chart" Target="../charts/chart272.xml"/></Relationships>
</file>

<file path=ppt/slides/_rels/slide13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4.xml"/><Relationship Id="rId3" Type="http://schemas.openxmlformats.org/officeDocument/2006/relationships/chart" Target="../charts/chart2719.xml"/><Relationship Id="rId4" Type="http://schemas.openxmlformats.org/officeDocument/2006/relationships/chart" Target="../charts/chart2720.xml"/></Relationships>
</file>

<file path=ppt/slides/_rels/slide1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5.xml"/><Relationship Id="rId3" Type="http://schemas.openxmlformats.org/officeDocument/2006/relationships/chart" Target="../charts/chart2721.xml"/><Relationship Id="rId4" Type="http://schemas.openxmlformats.org/officeDocument/2006/relationships/chart" Target="../charts/chart2722.xml"/></Relationships>
</file>

<file path=ppt/slides/_rels/slide1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1.xml"/><Relationship Id="rId3" Type="http://schemas.openxmlformats.org/officeDocument/2006/relationships/chart" Target="../charts/chart2733.xml"/><Relationship Id="rId4" Type="http://schemas.openxmlformats.org/officeDocument/2006/relationships/chart" Target="../charts/chart2734.xml"/></Relationships>
</file>

<file path=ppt/slides/_rels/slide1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2.xml"/><Relationship Id="rId3" Type="http://schemas.openxmlformats.org/officeDocument/2006/relationships/chart" Target="../charts/chart2735.xml"/><Relationship Id="rId4" Type="http://schemas.openxmlformats.org/officeDocument/2006/relationships/chart" Target="../charts/chart27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 Id="rId6" Type="http://schemas.openxmlformats.org/officeDocument/2006/relationships/chart" Target="../charts/chart274.xml"/></Relationships>
</file>

<file path=ppt/slides/_rels/slide13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6.xml"/><Relationship Id="rId3" Type="http://schemas.openxmlformats.org/officeDocument/2006/relationships/chart" Target="../charts/chart2763.xml"/><Relationship Id="rId4" Type="http://schemas.openxmlformats.org/officeDocument/2006/relationships/chart" Target="../charts/chart2764.xml"/></Relationships>
</file>

<file path=ppt/slides/_rels/slide1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7.xml"/><Relationship Id="rId3" Type="http://schemas.openxmlformats.org/officeDocument/2006/relationships/chart" Target="../charts/chart2765.xml"/><Relationship Id="rId4" Type="http://schemas.openxmlformats.org/officeDocument/2006/relationships/chart" Target="../charts/chart2766.xml"/></Relationships>
</file>

<file path=ppt/slides/_rels/slide13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2777.xml"/><Relationship Id="rId4" Type="http://schemas.openxmlformats.org/officeDocument/2006/relationships/chart" Target="../charts/chart2778.xml"/></Relationships>
</file>

<file path=ppt/slides/_rels/slide13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4.xml"/><Relationship Id="rId3" Type="http://schemas.openxmlformats.org/officeDocument/2006/relationships/chart" Target="../charts/chart2779.xml"/><Relationship Id="rId4" Type="http://schemas.openxmlformats.org/officeDocument/2006/relationships/chart" Target="../charts/chart2780.xml"/></Relationships>
</file>

<file path=ppt/slides/_rels/slide1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2.xml"/><Relationship Id="rId3" Type="http://schemas.openxmlformats.org/officeDocument/2006/relationships/chart" Target="../charts/chart2795.xml"/><Relationship Id="rId4" Type="http://schemas.openxmlformats.org/officeDocument/2006/relationships/chart" Target="../charts/chart2796.xml"/></Relationships>
</file>

<file path=ppt/slides/_rels/slide13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3.xml"/><Relationship Id="rId3" Type="http://schemas.openxmlformats.org/officeDocument/2006/relationships/chart" Target="../charts/chart2797.xml"/><Relationship Id="rId4" Type="http://schemas.openxmlformats.org/officeDocument/2006/relationships/chart" Target="../charts/chart2798.xml"/></Relationships>
</file>

<file path=ppt/slides/_rels/slide14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4.xml"/><Relationship Id="rId3" Type="http://schemas.openxmlformats.org/officeDocument/2006/relationships/chart" Target="../charts/chart2799.xml"/><Relationship Id="rId4" Type="http://schemas.openxmlformats.org/officeDocument/2006/relationships/chart" Target="../charts/chart2800.xml"/></Relationships>
</file>

<file path=ppt/slides/_rels/slide14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0.xml"/><Relationship Id="rId3" Type="http://schemas.openxmlformats.org/officeDocument/2006/relationships/chart" Target="../charts/chart2811.xml"/><Relationship Id="rId4" Type="http://schemas.openxmlformats.org/officeDocument/2006/relationships/chart" Target="../charts/chart2812.xml"/></Relationships>
</file>

<file path=ppt/slides/_rels/slide14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8.xml"/><Relationship Id="rId3" Type="http://schemas.openxmlformats.org/officeDocument/2006/relationships/chart" Target="../charts/chart2827.xml"/><Relationship Id="rId4" Type="http://schemas.openxmlformats.org/officeDocument/2006/relationships/chart" Target="../charts/chart2828.xml"/></Relationships>
</file>

<file path=ppt/slides/_rels/slide14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9.xml"/><Relationship Id="rId3" Type="http://schemas.openxmlformats.org/officeDocument/2006/relationships/chart" Target="../charts/chart2829.xml"/><Relationship Id="rId4" Type="http://schemas.openxmlformats.org/officeDocument/2006/relationships/chart" Target="../charts/chart2830.xml"/></Relationships>
</file>

<file path=ppt/slides/_rels/slide14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5.xml"/><Relationship Id="rId3" Type="http://schemas.openxmlformats.org/officeDocument/2006/relationships/chart" Target="../charts/chart2841.xml"/><Relationship Id="rId4" Type="http://schemas.openxmlformats.org/officeDocument/2006/relationships/chart" Target="../charts/chart2842.xml"/></Relationships>
</file>

<file path=ppt/slides/_rels/slide14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6.xml"/><Relationship Id="rId3" Type="http://schemas.openxmlformats.org/officeDocument/2006/relationships/chart" Target="../charts/chart2843.xml"/><Relationship Id="rId4" Type="http://schemas.openxmlformats.org/officeDocument/2006/relationships/chart" Target="../charts/chart2844.xml"/></Relationships>
</file>

<file path=ppt/slides/_rels/slide14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1.xml"/><Relationship Id="rId3" Type="http://schemas.openxmlformats.org/officeDocument/2006/relationships/chart" Target="../charts/chart2853.xml"/><Relationship Id="rId4" Type="http://schemas.openxmlformats.org/officeDocument/2006/relationships/chart" Target="../charts/chart2854.xml"/></Relationships>
</file>

<file path=ppt/slides/_rels/slide14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2.xml"/><Relationship Id="rId3" Type="http://schemas.openxmlformats.org/officeDocument/2006/relationships/chart" Target="../charts/chart2855.xml"/><Relationship Id="rId4" Type="http://schemas.openxmlformats.org/officeDocument/2006/relationships/chart" Target="../charts/chart285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 Id="rId6" Type="http://schemas.openxmlformats.org/officeDocument/2006/relationships/chart" Target="../charts/chart288.xml"/></Relationships>
</file>

<file path=ppt/slides/_rels/slide14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7.xml"/><Relationship Id="rId3" Type="http://schemas.openxmlformats.org/officeDocument/2006/relationships/chart" Target="../charts/chart2885.xml"/><Relationship Id="rId4" Type="http://schemas.openxmlformats.org/officeDocument/2006/relationships/chart" Target="../charts/chart2886.xml"/></Relationships>
</file>

<file path=ppt/slides/_rels/slide14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8.xml"/><Relationship Id="rId3" Type="http://schemas.openxmlformats.org/officeDocument/2006/relationships/chart" Target="../charts/chart2887.xml"/><Relationship Id="rId4" Type="http://schemas.openxmlformats.org/officeDocument/2006/relationships/chart" Target="../charts/chart2888.xml"/></Relationships>
</file>

<file path=ppt/slides/_rels/slide14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3.xml"/><Relationship Id="rId3" Type="http://schemas.openxmlformats.org/officeDocument/2006/relationships/chart" Target="../charts/chart2897.xml"/><Relationship Id="rId4" Type="http://schemas.openxmlformats.org/officeDocument/2006/relationships/chart" Target="../charts/chart289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 Id="rId6" Type="http://schemas.openxmlformats.org/officeDocument/2006/relationships/chart" Target="../charts/chart290.xml"/></Relationships>
</file>

<file path=ppt/slides/_rels/slide14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4.xml"/><Relationship Id="rId3" Type="http://schemas.openxmlformats.org/officeDocument/2006/relationships/chart" Target="../charts/chart2899.xml"/><Relationship Id="rId4" Type="http://schemas.openxmlformats.org/officeDocument/2006/relationships/chart" Target="../charts/chart2900.xml"/></Relationships>
</file>

<file path=ppt/slides/_rels/slide14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0.xml"/><Relationship Id="rId3" Type="http://schemas.openxmlformats.org/officeDocument/2006/relationships/chart" Target="../charts/chart2911.xml"/><Relationship Id="rId4" Type="http://schemas.openxmlformats.org/officeDocument/2006/relationships/chart" Target="../charts/chart2912.xml"/></Relationships>
</file>

<file path=ppt/slides/_rels/slide14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1.xml"/><Relationship Id="rId3" Type="http://schemas.openxmlformats.org/officeDocument/2006/relationships/chart" Target="../charts/chart2913.xml"/><Relationship Id="rId4" Type="http://schemas.openxmlformats.org/officeDocument/2006/relationships/chart" Target="../charts/chart2914.xml"/></Relationships>
</file>

<file path=ppt/slides/_rels/slide14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9.xml"/><Relationship Id="rId3" Type="http://schemas.openxmlformats.org/officeDocument/2006/relationships/chart" Target="../charts/chart2929.xml"/><Relationship Id="rId4" Type="http://schemas.openxmlformats.org/officeDocument/2006/relationships/chart" Target="../charts/chart2930.xml"/></Relationships>
</file>

<file path=ppt/slides/_rels/slide1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5.xml"/><Relationship Id="rId3" Type="http://schemas.openxmlformats.org/officeDocument/2006/relationships/chart" Target="../charts/chart2941.xml"/><Relationship Id="rId4" Type="http://schemas.openxmlformats.org/officeDocument/2006/relationships/chart" Target="../charts/chart2942.xml"/></Relationships>
</file>

<file path=ppt/slides/_rels/slide14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6.xml"/><Relationship Id="rId3" Type="http://schemas.openxmlformats.org/officeDocument/2006/relationships/chart" Target="../charts/chart2943.xml"/><Relationship Id="rId4" Type="http://schemas.openxmlformats.org/officeDocument/2006/relationships/chart" Target="../charts/chart2944.xml"/></Relationships>
</file>

<file path=ppt/slides/_rels/slide14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7.xml"/><Relationship Id="rId3" Type="http://schemas.openxmlformats.org/officeDocument/2006/relationships/chart" Target="../charts/chart2945.xml"/><Relationship Id="rId4" Type="http://schemas.openxmlformats.org/officeDocument/2006/relationships/chart" Target="../charts/chart2946.xml"/></Relationships>
</file>

<file path=ppt/slides/_rels/slide14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2.xml"/><Relationship Id="rId3" Type="http://schemas.openxmlformats.org/officeDocument/2006/relationships/chart" Target="../charts/chart2955.xml"/><Relationship Id="rId4" Type="http://schemas.openxmlformats.org/officeDocument/2006/relationships/chart" Target="../charts/chart2956.xml"/></Relationships>
</file>

<file path=ppt/slides/_rels/slide14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3.xml"/><Relationship Id="rId3" Type="http://schemas.openxmlformats.org/officeDocument/2006/relationships/chart" Target="../charts/chart2957.xml"/><Relationship Id="rId4" Type="http://schemas.openxmlformats.org/officeDocument/2006/relationships/chart" Target="../charts/chart2958.xml"/></Relationships>
</file>

<file path=ppt/slides/_rels/slide14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0.xml"/><Relationship Id="rId3" Type="http://schemas.openxmlformats.org/officeDocument/2006/relationships/chart" Target="../charts/chart2971.xml"/><Relationship Id="rId4" Type="http://schemas.openxmlformats.org/officeDocument/2006/relationships/chart" Target="../charts/chart2972.xml"/></Relationships>
</file>

<file path=ppt/slides/_rels/slide1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7.xml"/><Relationship Id="rId3" Type="http://schemas.openxmlformats.org/officeDocument/2006/relationships/chart" Target="../charts/chart2985.xml"/><Relationship Id="rId4" Type="http://schemas.openxmlformats.org/officeDocument/2006/relationships/chart" Target="../charts/chart2986.xml"/></Relationships>
</file>

<file path=ppt/slides/_rels/slide14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8.xml"/><Relationship Id="rId3" Type="http://schemas.openxmlformats.org/officeDocument/2006/relationships/chart" Target="../charts/chart2987.xml"/><Relationship Id="rId4" Type="http://schemas.openxmlformats.org/officeDocument/2006/relationships/chart" Target="../charts/chart2988.xml"/></Relationships>
</file>

<file path=ppt/slides/_rels/slide14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9.xml"/><Relationship Id="rId3" Type="http://schemas.openxmlformats.org/officeDocument/2006/relationships/chart" Target="../charts/chart2989.xml"/><Relationship Id="rId4" Type="http://schemas.openxmlformats.org/officeDocument/2006/relationships/chart" Target="../charts/chart2990.xml"/></Relationships>
</file>

<file path=ppt/slides/_rels/slide15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7.xml"/><Relationship Id="rId3" Type="http://schemas.openxmlformats.org/officeDocument/2006/relationships/chart" Target="../charts/chart3005.xml"/><Relationship Id="rId4" Type="http://schemas.openxmlformats.org/officeDocument/2006/relationships/chart" Target="../charts/chart3006.xml"/></Relationships>
</file>

<file path=ppt/slides/_rels/slide15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8.xml"/><Relationship Id="rId3" Type="http://schemas.openxmlformats.org/officeDocument/2006/relationships/chart" Target="../charts/chart3007.xml"/><Relationship Id="rId4" Type="http://schemas.openxmlformats.org/officeDocument/2006/relationships/chart" Target="../charts/chart3008.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 Id="rId6" Type="http://schemas.openxmlformats.org/officeDocument/2006/relationships/chart" Target="../charts/chart302.xml"/></Relationships>
</file>

<file path=ppt/slides/_rels/slide15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4.xml"/><Relationship Id="rId3" Type="http://schemas.openxmlformats.org/officeDocument/2006/relationships/chart" Target="../charts/chart3019.xml"/><Relationship Id="rId4" Type="http://schemas.openxmlformats.org/officeDocument/2006/relationships/chart" Target="../charts/chart3020.xml"/></Relationships>
</file>

<file path=ppt/slides/_rels/slide15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5.xml"/><Relationship Id="rId3" Type="http://schemas.openxmlformats.org/officeDocument/2006/relationships/chart" Target="../charts/chart3021.xml"/><Relationship Id="rId4" Type="http://schemas.openxmlformats.org/officeDocument/2006/relationships/chart" Target="../charts/chart3022.xml"/></Relationships>
</file>

<file path=ppt/slides/_rels/slide15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0.xml"/><Relationship Id="rId3" Type="http://schemas.openxmlformats.org/officeDocument/2006/relationships/chart" Target="../charts/chart3031.xml"/><Relationship Id="rId4" Type="http://schemas.openxmlformats.org/officeDocument/2006/relationships/chart" Target="../charts/chart3032.xml"/></Relationships>
</file>

<file path=ppt/slides/_rels/slide15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1.xml"/><Relationship Id="rId3" Type="http://schemas.openxmlformats.org/officeDocument/2006/relationships/chart" Target="../charts/chart3033.xml"/><Relationship Id="rId4" Type="http://schemas.openxmlformats.org/officeDocument/2006/relationships/chart" Target="../charts/chart3034.xml"/></Relationships>
</file>

<file path=ppt/slides/_rels/slide15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2.xml"/><Relationship Id="rId3" Type="http://schemas.openxmlformats.org/officeDocument/2006/relationships/chart" Target="../charts/chart3035.xml"/><Relationship Id="rId4" Type="http://schemas.openxmlformats.org/officeDocument/2006/relationships/chart" Target="../charts/chart3036.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 Id="rId6" Type="http://schemas.openxmlformats.org/officeDocument/2006/relationships/chart" Target="../charts/chart304.xml"/></Relationships>
</file>

<file path=ppt/slides/_rels/slide15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9.xml"/><Relationship Id="rId3" Type="http://schemas.openxmlformats.org/officeDocument/2006/relationships/chart" Target="../charts/chart3049.xml"/><Relationship Id="rId4" Type="http://schemas.openxmlformats.org/officeDocument/2006/relationships/chart" Target="../charts/chart3050.xml"/></Relationships>
</file>

<file path=ppt/slides/_rels/slide15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6.xml"/><Relationship Id="rId3" Type="http://schemas.openxmlformats.org/officeDocument/2006/relationships/chart" Target="../charts/chart3063.xml"/><Relationship Id="rId4" Type="http://schemas.openxmlformats.org/officeDocument/2006/relationships/chart" Target="../charts/chart3064.xml"/></Relationships>
</file>

<file path=ppt/slides/_rels/slide15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7.xml"/><Relationship Id="rId3" Type="http://schemas.openxmlformats.org/officeDocument/2006/relationships/chart" Target="../charts/chart3065.xml"/><Relationship Id="rId4" Type="http://schemas.openxmlformats.org/officeDocument/2006/relationships/chart" Target="../charts/chart3066.xml"/></Relationships>
</file>

<file path=ppt/slides/_rels/slide1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2.xml"/><Relationship Id="rId3" Type="http://schemas.openxmlformats.org/officeDocument/2006/relationships/chart" Target="../charts/chart3075.xml"/><Relationship Id="rId4" Type="http://schemas.openxmlformats.org/officeDocument/2006/relationships/chart" Target="../charts/chart3076.xml"/></Relationships>
</file>

<file path=ppt/slides/_rels/slide15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3.xml"/><Relationship Id="rId3" Type="http://schemas.openxmlformats.org/officeDocument/2006/relationships/chart" Target="../charts/chart3077.xml"/><Relationship Id="rId4" Type="http://schemas.openxmlformats.org/officeDocument/2006/relationships/chart" Target="../charts/chart3078.xml"/></Relationships>
</file>

<file path=ppt/slides/_rels/slide15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4.xml"/><Relationship Id="rId3" Type="http://schemas.openxmlformats.org/officeDocument/2006/relationships/chart" Target="../charts/chart3079.xml"/><Relationship Id="rId4" Type="http://schemas.openxmlformats.org/officeDocument/2006/relationships/chart" Target="../charts/chart3080.xml"/></Relationships>
</file>

<file path=ppt/slides/_rels/slide15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0.xml"/><Relationship Id="rId3" Type="http://schemas.openxmlformats.org/officeDocument/2006/relationships/chart" Target="../charts/chart3091.xml"/><Relationship Id="rId4" Type="http://schemas.openxmlformats.org/officeDocument/2006/relationships/chart" Target="../charts/chart3092.xml"/></Relationships>
</file>

<file path=ppt/slides/_rels/slide15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8.xml"/><Relationship Id="rId3" Type="http://schemas.openxmlformats.org/officeDocument/2006/relationships/chart" Target="../charts/chart3107.xml"/><Relationship Id="rId4" Type="http://schemas.openxmlformats.org/officeDocument/2006/relationships/chart" Target="../charts/chart3108.xml"/></Relationships>
</file>

<file path=ppt/slides/_rels/slide15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9.xml"/><Relationship Id="rId3" Type="http://schemas.openxmlformats.org/officeDocument/2006/relationships/chart" Target="../charts/chart3109.xml"/><Relationship Id="rId4" Type="http://schemas.openxmlformats.org/officeDocument/2006/relationships/chart" Target="../charts/chart3110.xml"/></Relationships>
</file>

<file path=ppt/slides/_rels/slide1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4.xml"/><Relationship Id="rId3" Type="http://schemas.openxmlformats.org/officeDocument/2006/relationships/chart" Target="../charts/chart3119.xml"/><Relationship Id="rId4" Type="http://schemas.openxmlformats.org/officeDocument/2006/relationships/chart" Target="../charts/chart3120.xml"/></Relationships>
</file>

<file path=ppt/slides/_rels/slide15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5.xml"/><Relationship Id="rId3" Type="http://schemas.openxmlformats.org/officeDocument/2006/relationships/chart" Target="../charts/chart3121.xml"/><Relationship Id="rId4" Type="http://schemas.openxmlformats.org/officeDocument/2006/relationships/chart" Target="../charts/chart3122.xml"/></Relationships>
</file>

<file path=ppt/slides/_rels/slide15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6.xml"/><Relationship Id="rId3" Type="http://schemas.openxmlformats.org/officeDocument/2006/relationships/chart" Target="../charts/chart3123.xml"/><Relationship Id="rId4" Type="http://schemas.openxmlformats.org/officeDocument/2006/relationships/chart" Target="../charts/chart3124.xml"/></Relationships>
</file>

<file path=ppt/slides/_rels/slide15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1.xml"/><Relationship Id="rId3" Type="http://schemas.openxmlformats.org/officeDocument/2006/relationships/chart" Target="../charts/chart3133.xml"/><Relationship Id="rId4" Type="http://schemas.openxmlformats.org/officeDocument/2006/relationships/chart" Target="../charts/chart3134.xml"/></Relationships>
</file>

<file path=ppt/slides/_rels/slide15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2.xml"/><Relationship Id="rId3" Type="http://schemas.openxmlformats.org/officeDocument/2006/relationships/chart" Target="../charts/chart3135.xml"/><Relationship Id="rId4" Type="http://schemas.openxmlformats.org/officeDocument/2006/relationships/chart" Target="../charts/chart3136.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 Id="rId6" Type="http://schemas.openxmlformats.org/officeDocument/2006/relationships/chart" Target="../charts/chart316.xml"/></Relationships>
</file>

<file path=ppt/slides/_rels/slide15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7.xml"/><Relationship Id="rId3" Type="http://schemas.openxmlformats.org/officeDocument/2006/relationships/chart" Target="../charts/chart3165.xml"/><Relationship Id="rId4" Type="http://schemas.openxmlformats.org/officeDocument/2006/relationships/chart" Target="../charts/chart3166.xml"/></Relationships>
</file>

<file path=ppt/slides/_rels/slide15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8.xml"/><Relationship Id="rId3" Type="http://schemas.openxmlformats.org/officeDocument/2006/relationships/chart" Target="../charts/chart3167.xml"/><Relationship Id="rId4" Type="http://schemas.openxmlformats.org/officeDocument/2006/relationships/chart" Target="../charts/chart3168.xml"/></Relationships>
</file>

<file path=ppt/slides/_rels/slide15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3.xml"/><Relationship Id="rId3" Type="http://schemas.openxmlformats.org/officeDocument/2006/relationships/chart" Target="../charts/chart3177.xml"/><Relationship Id="rId4" Type="http://schemas.openxmlformats.org/officeDocument/2006/relationships/chart" Target="../charts/chart317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 Id="rId6" Type="http://schemas.openxmlformats.org/officeDocument/2006/relationships/chart" Target="../charts/chart318.xml"/></Relationships>
</file>

<file path=ppt/slides/_rels/slide15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4.xml"/><Relationship Id="rId3" Type="http://schemas.openxmlformats.org/officeDocument/2006/relationships/chart" Target="../charts/chart3179.xml"/><Relationship Id="rId4" Type="http://schemas.openxmlformats.org/officeDocument/2006/relationships/chart" Target="../charts/chart3180.xml"/></Relationships>
</file>

<file path=ppt/slides/_rels/slide15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3.xml"/><Relationship Id="rId3" Type="http://schemas.openxmlformats.org/officeDocument/2006/relationships/chart" Target="../charts/chart3197.xml"/><Relationship Id="rId4" Type="http://schemas.openxmlformats.org/officeDocument/2006/relationships/chart" Target="../charts/chart319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6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4.xml"/><Relationship Id="rId3" Type="http://schemas.openxmlformats.org/officeDocument/2006/relationships/chart" Target="../charts/chart3199.xml"/><Relationship Id="rId4" Type="http://schemas.openxmlformats.org/officeDocument/2006/relationships/chart" Target="../charts/chart3200.xml"/></Relationships>
</file>

<file path=ppt/slides/_rels/slide16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0.xml"/><Relationship Id="rId3" Type="http://schemas.openxmlformats.org/officeDocument/2006/relationships/chart" Target="../charts/chart3211.xml"/><Relationship Id="rId4" Type="http://schemas.openxmlformats.org/officeDocument/2006/relationships/chart" Target="../charts/chart3212.xml"/></Relationships>
</file>

<file path=ppt/slides/_rels/slide16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1.xml"/><Relationship Id="rId3" Type="http://schemas.openxmlformats.org/officeDocument/2006/relationships/chart" Target="../charts/chart3213.xml"/><Relationship Id="rId4" Type="http://schemas.openxmlformats.org/officeDocument/2006/relationships/chart" Target="../charts/chart3214.xml"/></Relationships>
</file>

<file path=ppt/slides/_rels/slide16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8.xml"/><Relationship Id="rId3" Type="http://schemas.openxmlformats.org/officeDocument/2006/relationships/chart" Target="../charts/chart3227.xml"/><Relationship Id="rId4" Type="http://schemas.openxmlformats.org/officeDocument/2006/relationships/chart" Target="../charts/chart3228.xml"/></Relationships>
</file>

<file path=ppt/slides/_rels/slide16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9.xml"/><Relationship Id="rId3" Type="http://schemas.openxmlformats.org/officeDocument/2006/relationships/chart" Target="../charts/chart3229.xml"/><Relationship Id="rId4" Type="http://schemas.openxmlformats.org/officeDocument/2006/relationships/chart" Target="../charts/chart3230.xml"/></Relationships>
</file>

<file path=ppt/slides/_rels/slide16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5.xml"/><Relationship Id="rId3" Type="http://schemas.openxmlformats.org/officeDocument/2006/relationships/chart" Target="../charts/chart3241.xml"/><Relationship Id="rId4" Type="http://schemas.openxmlformats.org/officeDocument/2006/relationships/chart" Target="../charts/chart3242.xml"/></Relationships>
</file>

<file path=ppt/slides/_rels/slide16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6.xml"/><Relationship Id="rId3" Type="http://schemas.openxmlformats.org/officeDocument/2006/relationships/chart" Target="../charts/chart3243.xml"/><Relationship Id="rId4" Type="http://schemas.openxmlformats.org/officeDocument/2006/relationships/chart" Target="../charts/chart3244.xml"/></Relationships>
</file>

<file path=ppt/slides/_rels/slide16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2.xml"/><Relationship Id="rId3" Type="http://schemas.openxmlformats.org/officeDocument/2006/relationships/chart" Target="../charts/chart3255.xml"/><Relationship Id="rId4" Type="http://schemas.openxmlformats.org/officeDocument/2006/relationships/chart" Target="../charts/chart3256.xml"/></Relationships>
</file>

<file path=ppt/slides/_rels/slide16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3.xml"/><Relationship Id="rId3" Type="http://schemas.openxmlformats.org/officeDocument/2006/relationships/chart" Target="../charts/chart3257.xml"/><Relationship Id="rId4" Type="http://schemas.openxmlformats.org/officeDocument/2006/relationships/chart" Target="../charts/chart3258.xml"/></Relationships>
</file>

<file path=ppt/slides/_rels/slide16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7.xml"/><Relationship Id="rId3" Type="http://schemas.openxmlformats.org/officeDocument/2006/relationships/chart" Target="../charts/chart3285.xml"/><Relationship Id="rId4" Type="http://schemas.openxmlformats.org/officeDocument/2006/relationships/chart" Target="../charts/chart3286.xml"/></Relationships>
</file>

<file path=ppt/slides/_rels/slide16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8.xml"/><Relationship Id="rId3" Type="http://schemas.openxmlformats.org/officeDocument/2006/relationships/chart" Target="../charts/chart3287.xml"/><Relationship Id="rId4" Type="http://schemas.openxmlformats.org/officeDocument/2006/relationships/chart" Target="../charts/chart3288.xml"/></Relationships>
</file>

<file path=ppt/slides/_rels/slide16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4.xml"/><Relationship Id="rId3" Type="http://schemas.openxmlformats.org/officeDocument/2006/relationships/chart" Target="../charts/chart3299.xml"/><Relationship Id="rId4" Type="http://schemas.openxmlformats.org/officeDocument/2006/relationships/chart" Target="../charts/chart3300.xml"/></Relationships>
</file>

<file path=ppt/slides/_rels/slide16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5.xml"/><Relationship Id="rId3" Type="http://schemas.openxmlformats.org/officeDocument/2006/relationships/chart" Target="../charts/chart3301.xml"/><Relationship Id="rId4" Type="http://schemas.openxmlformats.org/officeDocument/2006/relationships/chart" Target="../charts/chart3302.xml"/></Relationships>
</file>

<file path=ppt/slides/_rels/slide16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0.xml"/><Relationship Id="rId3" Type="http://schemas.openxmlformats.org/officeDocument/2006/relationships/chart" Target="../charts/chart3311.xml"/><Relationship Id="rId4" Type="http://schemas.openxmlformats.org/officeDocument/2006/relationships/chart" Target="../charts/chart3312.xml"/></Relationships>
</file>

<file path=ppt/slides/_rels/slide16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1.xml"/><Relationship Id="rId3" Type="http://schemas.openxmlformats.org/officeDocument/2006/relationships/chart" Target="../charts/chart3313.xml"/><Relationship Id="rId4" Type="http://schemas.openxmlformats.org/officeDocument/2006/relationships/chart" Target="../charts/chart3314.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 Id="rId6" Type="http://schemas.openxmlformats.org/officeDocument/2006/relationships/chart" Target="../charts/chart332.xml"/></Relationships>
</file>

<file path=ppt/slides/_rels/slide16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9.xml"/><Relationship Id="rId3" Type="http://schemas.openxmlformats.org/officeDocument/2006/relationships/chart" Target="../charts/chart3329.xml"/><Relationship Id="rId4" Type="http://schemas.openxmlformats.org/officeDocument/2006/relationships/chart" Target="../charts/chart3330.xml"/></Relationships>
</file>

<file path=ppt/slides/_rels/slide16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6.xml"/><Relationship Id="rId3" Type="http://schemas.openxmlformats.org/officeDocument/2006/relationships/chart" Target="../charts/chart3343.xml"/><Relationship Id="rId4" Type="http://schemas.openxmlformats.org/officeDocument/2006/relationships/chart" Target="../charts/chart3344.xml"/></Relationships>
</file>

<file path=ppt/slides/_rels/slide16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7.xml"/><Relationship Id="rId3" Type="http://schemas.openxmlformats.org/officeDocument/2006/relationships/chart" Target="../charts/chart3345.xml"/><Relationship Id="rId4" Type="http://schemas.openxmlformats.org/officeDocument/2006/relationships/chart" Target="../charts/chart3346.xml"/></Relationships>
</file>

<file path=ppt/slides/_rels/slide1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2.xml"/><Relationship Id="rId3" Type="http://schemas.openxmlformats.org/officeDocument/2006/relationships/chart" Target="../charts/chart3355.xml"/><Relationship Id="rId4" Type="http://schemas.openxmlformats.org/officeDocument/2006/relationships/chart" Target="../charts/chart3356.xml"/></Relationships>
</file>

<file path=ppt/slides/_rels/slide16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3.xml"/><Relationship Id="rId3" Type="http://schemas.openxmlformats.org/officeDocument/2006/relationships/chart" Target="../charts/chart3357.xml"/><Relationship Id="rId4" Type="http://schemas.openxmlformats.org/officeDocument/2006/relationships/chart" Target="../charts/chart3358.xml"/></Relationships>
</file>

<file path=ppt/slides/_rels/slide16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4.xml"/><Relationship Id="rId3" Type="http://schemas.openxmlformats.org/officeDocument/2006/relationships/chart" Target="../charts/chart3359.xml"/><Relationship Id="rId4" Type="http://schemas.openxmlformats.org/officeDocument/2006/relationships/chart" Target="../charts/chart3360.xml"/></Relationships>
</file>

<file path=ppt/slides/_rels/slide16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0.xml"/><Relationship Id="rId3" Type="http://schemas.openxmlformats.org/officeDocument/2006/relationships/chart" Target="../charts/chart3371.xml"/><Relationship Id="rId4" Type="http://schemas.openxmlformats.org/officeDocument/2006/relationships/chart" Target="../charts/chart3372.xml"/></Relationships>
</file>

<file path=ppt/slides/_rels/slide16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8.xml"/><Relationship Id="rId3" Type="http://schemas.openxmlformats.org/officeDocument/2006/relationships/chart" Target="../charts/chart3387.xml"/><Relationship Id="rId4" Type="http://schemas.openxmlformats.org/officeDocument/2006/relationships/chart" Target="../charts/chart3388.xml"/></Relationships>
</file>

<file path=ppt/slides/_rels/slide16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9.xml"/><Relationship Id="rId3" Type="http://schemas.openxmlformats.org/officeDocument/2006/relationships/chart" Target="../charts/chart3389.xml"/><Relationship Id="rId4" Type="http://schemas.openxmlformats.org/officeDocument/2006/relationships/chart" Target="../charts/chart3390.xml"/></Relationships>
</file>

<file path=ppt/slides/_rels/slide16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0.xml"/><Relationship Id="rId3" Type="http://schemas.openxmlformats.org/officeDocument/2006/relationships/chart" Target="../charts/chart3391.xml"/><Relationship Id="rId4" Type="http://schemas.openxmlformats.org/officeDocument/2006/relationships/chart" Target="../charts/chart33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7.xml"/><Relationship Id="rId3" Type="http://schemas.openxmlformats.org/officeDocument/2006/relationships/chart" Target="../charts/chart3405.xml"/><Relationship Id="rId4" Type="http://schemas.openxmlformats.org/officeDocument/2006/relationships/chart" Target="../charts/chart3406.xml"/></Relationships>
</file>

<file path=ppt/slides/_rels/slide17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8.xml"/><Relationship Id="rId3" Type="http://schemas.openxmlformats.org/officeDocument/2006/relationships/chart" Target="../charts/chart3407.xml"/><Relationship Id="rId4" Type="http://schemas.openxmlformats.org/officeDocument/2006/relationships/chart" Target="../charts/chart3408.xml"/></Relationships>
</file>

<file path=ppt/slides/_rels/slide17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9.xml"/><Relationship Id="rId3" Type="http://schemas.openxmlformats.org/officeDocument/2006/relationships/chart" Target="../charts/chart3409.xml"/><Relationship Id="rId4" Type="http://schemas.openxmlformats.org/officeDocument/2006/relationships/chart" Target="../charts/chart3410.xml"/></Relationships>
</file>

<file path=ppt/slides/_rels/slide17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4.xml"/><Relationship Id="rId3" Type="http://schemas.openxmlformats.org/officeDocument/2006/relationships/chart" Target="../charts/chart3419.xml"/><Relationship Id="rId4" Type="http://schemas.openxmlformats.org/officeDocument/2006/relationships/chart" Target="../charts/chart3420.xml"/></Relationships>
</file>

<file path=ppt/slides/_rels/slide17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5.xml"/><Relationship Id="rId3" Type="http://schemas.openxmlformats.org/officeDocument/2006/relationships/chart" Target="../charts/chart3421.xml"/><Relationship Id="rId4" Type="http://schemas.openxmlformats.org/officeDocument/2006/relationships/chart" Target="../charts/chart3422.xml"/></Relationships>
</file>

<file path=ppt/slides/_rels/slide17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1.xml"/><Relationship Id="rId3" Type="http://schemas.openxmlformats.org/officeDocument/2006/relationships/chart" Target="../charts/chart3433.xml"/><Relationship Id="rId4" Type="http://schemas.openxmlformats.org/officeDocument/2006/relationships/chart" Target="../charts/chart3434.xml"/></Relationships>
</file>

<file path=ppt/slides/_rels/slide17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2.xml"/><Relationship Id="rId3" Type="http://schemas.openxmlformats.org/officeDocument/2006/relationships/chart" Target="../charts/chart3435.xml"/><Relationship Id="rId4" Type="http://schemas.openxmlformats.org/officeDocument/2006/relationships/chart" Target="../charts/chart3436.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 Id="rId6" Type="http://schemas.openxmlformats.org/officeDocument/2006/relationships/chart" Target="../charts/chart346.xml"/></Relationships>
</file>

<file path=ppt/slides/_rels/slide17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6.xml"/><Relationship Id="rId3" Type="http://schemas.openxmlformats.org/officeDocument/2006/relationships/chart" Target="../charts/chart3463.xml"/><Relationship Id="rId4" Type="http://schemas.openxmlformats.org/officeDocument/2006/relationships/chart" Target="../charts/chart3464.xml"/></Relationships>
</file>

<file path=ppt/slides/_rels/slide17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7.xml"/><Relationship Id="rId3" Type="http://schemas.openxmlformats.org/officeDocument/2006/relationships/chart" Target="../charts/chart3465.xml"/><Relationship Id="rId4" Type="http://schemas.openxmlformats.org/officeDocument/2006/relationships/chart" Target="../charts/chart3466.xml"/></Relationships>
</file>

<file path=ppt/slides/_rels/slide17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3.xml"/><Relationship Id="rId3" Type="http://schemas.openxmlformats.org/officeDocument/2006/relationships/chart" Target="../charts/chart3477.xml"/><Relationship Id="rId4" Type="http://schemas.openxmlformats.org/officeDocument/2006/relationships/chart" Target="../charts/chart3478.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 Id="rId6" Type="http://schemas.openxmlformats.org/officeDocument/2006/relationships/chart" Target="../charts/chart348.xml"/></Relationships>
</file>

<file path=ppt/slides/_rels/slide17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4.xml"/><Relationship Id="rId3" Type="http://schemas.openxmlformats.org/officeDocument/2006/relationships/chart" Target="../charts/chart3479.xml"/><Relationship Id="rId4" Type="http://schemas.openxmlformats.org/officeDocument/2006/relationships/chart" Target="../charts/chart3480.xml"/></Relationships>
</file>

<file path=ppt/slides/_rels/slide17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0.xml"/><Relationship Id="rId3" Type="http://schemas.openxmlformats.org/officeDocument/2006/relationships/chart" Target="../charts/chart3491.xml"/><Relationship Id="rId4" Type="http://schemas.openxmlformats.org/officeDocument/2006/relationships/chart" Target="../charts/chart3492.xml"/></Relationships>
</file>

<file path=ppt/slides/_rels/slide17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1.xml"/><Relationship Id="rId3" Type="http://schemas.openxmlformats.org/officeDocument/2006/relationships/chart" Target="../charts/chart3493.xml"/><Relationship Id="rId4" Type="http://schemas.openxmlformats.org/officeDocument/2006/relationships/chart" Target="../charts/chart3494.xml"/></Relationships>
</file>

<file path=ppt/slides/_rels/slide17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8.xml"/><Relationship Id="rId3" Type="http://schemas.openxmlformats.org/officeDocument/2006/relationships/chart" Target="../charts/chart3507.xml"/><Relationship Id="rId4" Type="http://schemas.openxmlformats.org/officeDocument/2006/relationships/chart" Target="../charts/chart3508.xml"/></Relationships>
</file>

<file path=ppt/slides/_rels/slide17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9.xml"/><Relationship Id="rId3" Type="http://schemas.openxmlformats.org/officeDocument/2006/relationships/chart" Target="../charts/chart3509.xml"/><Relationship Id="rId4" Type="http://schemas.openxmlformats.org/officeDocument/2006/relationships/chart" Target="../charts/chart3510.xml"/></Relationships>
</file>

<file path=ppt/slides/_rels/slide17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5.xml"/><Relationship Id="rId3" Type="http://schemas.openxmlformats.org/officeDocument/2006/relationships/chart" Target="../charts/chart3521.xml"/><Relationship Id="rId4" Type="http://schemas.openxmlformats.org/officeDocument/2006/relationships/chart" Target="../charts/chart3522.xml"/></Relationships>
</file>

<file path=ppt/slides/_rels/slide17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6.xml"/><Relationship Id="rId3" Type="http://schemas.openxmlformats.org/officeDocument/2006/relationships/chart" Target="../charts/chart3523.xml"/><Relationship Id="rId4" Type="http://schemas.openxmlformats.org/officeDocument/2006/relationships/chart" Target="../charts/chart3524.xml"/></Relationships>
</file>

<file path=ppt/slides/_rels/slide1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1.xml"/><Relationship Id="rId3" Type="http://schemas.openxmlformats.org/officeDocument/2006/relationships/chart" Target="../charts/chart3533.xml"/><Relationship Id="rId4" Type="http://schemas.openxmlformats.org/officeDocument/2006/relationships/chart" Target="../charts/chart3534.xml"/></Relationships>
</file>

<file path=ppt/slides/_rels/slide17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2.xml"/><Relationship Id="rId3" Type="http://schemas.openxmlformats.org/officeDocument/2006/relationships/chart" Target="../charts/chart3535.xml"/><Relationship Id="rId4" Type="http://schemas.openxmlformats.org/officeDocument/2006/relationships/chart" Target="../charts/chart3536.xml"/></Relationships>
</file>

<file path=ppt/slides/_rels/slide17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3.xml"/><Relationship Id="rId3" Type="http://schemas.openxmlformats.org/officeDocument/2006/relationships/chart" Target="../charts/chart3537.xml"/><Relationship Id="rId4" Type="http://schemas.openxmlformats.org/officeDocument/2006/relationships/chart" Target="../charts/chart3538.xml"/></Relationships>
</file>

<file path=ppt/slides/_rels/slide17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7.xml"/><Relationship Id="rId3" Type="http://schemas.openxmlformats.org/officeDocument/2006/relationships/chart" Target="../charts/chart3565.xml"/><Relationship Id="rId4" Type="http://schemas.openxmlformats.org/officeDocument/2006/relationships/chart" Target="../charts/chart3566.xml"/></Relationships>
</file>

<file path=ppt/slides/_rels/slide17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8.xml"/><Relationship Id="rId3" Type="http://schemas.openxmlformats.org/officeDocument/2006/relationships/chart" Target="../charts/chart3567.xml"/><Relationship Id="rId4" Type="http://schemas.openxmlformats.org/officeDocument/2006/relationships/chart" Target="../charts/chart3568.xml"/></Relationships>
</file>

<file path=ppt/slides/_rels/slide17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4.xml"/><Relationship Id="rId3" Type="http://schemas.openxmlformats.org/officeDocument/2006/relationships/chart" Target="../charts/chart3579.xml"/><Relationship Id="rId4" Type="http://schemas.openxmlformats.org/officeDocument/2006/relationships/chart" Target="../charts/chart3580.xml"/></Relationships>
</file>

<file path=ppt/slides/_rels/slide17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5.xml"/><Relationship Id="rId3" Type="http://schemas.openxmlformats.org/officeDocument/2006/relationships/chart" Target="../charts/chart3581.xml"/><Relationship Id="rId4" Type="http://schemas.openxmlformats.org/officeDocument/2006/relationships/chart" Target="../charts/chart3582.xml"/></Relationships>
</file>

<file path=ppt/slides/_rels/slide17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3.xml"/><Relationship Id="rId3" Type="http://schemas.openxmlformats.org/officeDocument/2006/relationships/chart" Target="../charts/chart3597.xml"/><Relationship Id="rId4" Type="http://schemas.openxmlformats.org/officeDocument/2006/relationships/chart" Target="../charts/chart359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 Id="rId6" Type="http://schemas.openxmlformats.org/officeDocument/2006/relationships/chart" Target="../charts/chart360.xml"/></Relationships>
</file>

<file path=ppt/slides/_rels/slide18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4.xml"/><Relationship Id="rId3" Type="http://schemas.openxmlformats.org/officeDocument/2006/relationships/chart" Target="../charts/chart3599.xml"/><Relationship Id="rId4" Type="http://schemas.openxmlformats.org/officeDocument/2006/relationships/chart" Target="../charts/chart3600.xml"/></Relationships>
</file>

<file path=ppt/slides/_rels/slide18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0.xml"/><Relationship Id="rId3" Type="http://schemas.openxmlformats.org/officeDocument/2006/relationships/chart" Target="../charts/chart3611.xml"/><Relationship Id="rId4" Type="http://schemas.openxmlformats.org/officeDocument/2006/relationships/chart" Target="../charts/chart3612.xml"/></Relationships>
</file>

<file path=ppt/slides/_rels/slide18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1.xml"/><Relationship Id="rId3" Type="http://schemas.openxmlformats.org/officeDocument/2006/relationships/chart" Target="../charts/chart3613.xml"/><Relationship Id="rId4" Type="http://schemas.openxmlformats.org/officeDocument/2006/relationships/chart" Target="../charts/chart3614.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 Id="rId6" Type="http://schemas.openxmlformats.org/officeDocument/2006/relationships/chart" Target="../charts/chart362.xml"/></Relationships>
</file>

<file path=ppt/slides/_rels/slide18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9.xml"/><Relationship Id="rId3" Type="http://schemas.openxmlformats.org/officeDocument/2006/relationships/chart" Target="../charts/chart3629.xml"/><Relationship Id="rId4" Type="http://schemas.openxmlformats.org/officeDocument/2006/relationships/chart" Target="../charts/chart3630.xml"/></Relationships>
</file>

<file path=ppt/slides/_rels/slide18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5.xml"/><Relationship Id="rId3" Type="http://schemas.openxmlformats.org/officeDocument/2006/relationships/chart" Target="../charts/chart3641.xml"/><Relationship Id="rId4" Type="http://schemas.openxmlformats.org/officeDocument/2006/relationships/chart" Target="../charts/chart3642.xml"/></Relationships>
</file>

<file path=ppt/slides/_rels/slide18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6.xml"/><Relationship Id="rId3" Type="http://schemas.openxmlformats.org/officeDocument/2006/relationships/chart" Target="../charts/chart3643.xml"/><Relationship Id="rId4" Type="http://schemas.openxmlformats.org/officeDocument/2006/relationships/chart" Target="../charts/chart3644.xml"/></Relationships>
</file>

<file path=ppt/slides/_rels/slide18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7.xml"/><Relationship Id="rId3" Type="http://schemas.openxmlformats.org/officeDocument/2006/relationships/chart" Target="../charts/chart3645.xml"/><Relationship Id="rId4" Type="http://schemas.openxmlformats.org/officeDocument/2006/relationships/chart" Target="../charts/chart3646.xml"/></Relationships>
</file>

<file path=ppt/slides/_rels/slide18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2.xml"/><Relationship Id="rId3" Type="http://schemas.openxmlformats.org/officeDocument/2006/relationships/chart" Target="../charts/chart3655.xml"/><Relationship Id="rId4" Type="http://schemas.openxmlformats.org/officeDocument/2006/relationships/chart" Target="../charts/chart3656.xml"/></Relationships>
</file>

<file path=ppt/slides/_rels/slide18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3.xml"/><Relationship Id="rId3" Type="http://schemas.openxmlformats.org/officeDocument/2006/relationships/chart" Target="../charts/chart3657.xml"/><Relationship Id="rId4" Type="http://schemas.openxmlformats.org/officeDocument/2006/relationships/chart" Target="../charts/chart3658.xml"/></Relationships>
</file>

<file path=ppt/slides/_rels/slide18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0.xml"/><Relationship Id="rId3" Type="http://schemas.openxmlformats.org/officeDocument/2006/relationships/chart" Target="../charts/chart3671.xml"/><Relationship Id="rId4" Type="http://schemas.openxmlformats.org/officeDocument/2006/relationships/chart" Target="../charts/chart3672.xml"/></Relationships>
</file>

<file path=ppt/slides/_rels/slide1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7.xml"/><Relationship Id="rId3" Type="http://schemas.openxmlformats.org/officeDocument/2006/relationships/chart" Target="../charts/chart3685.xml"/><Relationship Id="rId4" Type="http://schemas.openxmlformats.org/officeDocument/2006/relationships/chart" Target="../charts/chart3686.xml"/></Relationships>
</file>

<file path=ppt/slides/_rels/slide18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8.xml"/><Relationship Id="rId3" Type="http://schemas.openxmlformats.org/officeDocument/2006/relationships/chart" Target="../charts/chart3687.xml"/><Relationship Id="rId4" Type="http://schemas.openxmlformats.org/officeDocument/2006/relationships/chart" Target="../charts/chart3688.xml"/></Relationships>
</file>

<file path=ppt/slides/_rels/slide18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9.xml"/><Relationship Id="rId3" Type="http://schemas.openxmlformats.org/officeDocument/2006/relationships/chart" Target="../charts/chart3689.xml"/><Relationship Id="rId4" Type="http://schemas.openxmlformats.org/officeDocument/2006/relationships/chart" Target="../charts/chart3690.xml"/></Relationships>
</file>

<file path=ppt/slides/_rels/slide18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4.xml"/><Relationship Id="rId3" Type="http://schemas.openxmlformats.org/officeDocument/2006/relationships/chart" Target="../charts/chart3699.xml"/><Relationship Id="rId4" Type="http://schemas.openxmlformats.org/officeDocument/2006/relationships/chart" Target="../charts/chart3700.xml"/></Relationships>
</file>

<file path=ppt/slides/_rels/slide18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5.xml"/><Relationship Id="rId3" Type="http://schemas.openxmlformats.org/officeDocument/2006/relationships/chart" Target="../charts/chart3701.xml"/><Relationship Id="rId4" Type="http://schemas.openxmlformats.org/officeDocument/2006/relationships/chart" Target="../charts/chart3702.xml"/></Relationships>
</file>

<file path=ppt/slides/_rels/slide1857.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notesSlide" Target="../notesSlides/notesSlide93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3.xml"/><Relationship Id="rId7" Type="http://schemas.openxmlformats.org/officeDocument/2006/relationships/chart" Target="../charts/chart3714.xml"/></Relationships>
</file>

<file path=ppt/slides/_rels/slide1858.xml.rels><?xml version='1.0' encoding='UTF-8' standalone='yes'?>
<Relationships xmlns="http://schemas.openxmlformats.org/package/2006/relationships"><Relationship Id="rId1" Type="http://schemas.openxmlformats.org/officeDocument/2006/relationships/tags" Target="../tags/tag959.xml"/><Relationship Id="rId2" Type="http://schemas.openxmlformats.org/officeDocument/2006/relationships/slideLayout" Target="../slideLayouts/slideLayout7.xml"/><Relationship Id="rId3" Type="http://schemas.openxmlformats.org/officeDocument/2006/relationships/notesSlide" Target="../notesSlides/notesSlide93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5.xml"/><Relationship Id="rId7" Type="http://schemas.openxmlformats.org/officeDocument/2006/relationships/chart" Target="../charts/chart3716.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 Id="rId6" Type="http://schemas.openxmlformats.org/officeDocument/2006/relationships/chart" Target="../charts/chart37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 Id="rId6" Type="http://schemas.openxmlformats.org/officeDocument/2006/relationships/chart" Target="../charts/chart374.xml"/></Relationships>
</file>

<file path=ppt/slides/_rels/slide1872.xml.rels><?xml version='1.0' encoding='UTF-8' standalone='yes'?>
<Relationships xmlns="http://schemas.openxmlformats.org/package/2006/relationships"><Relationship Id="rId1" Type="http://schemas.openxmlformats.org/officeDocument/2006/relationships/tags" Target="../tags/tag973.xml"/><Relationship Id="rId2" Type="http://schemas.openxmlformats.org/officeDocument/2006/relationships/slideLayout" Target="../slideLayouts/slideLayout7.xml"/><Relationship Id="rId3" Type="http://schemas.openxmlformats.org/officeDocument/2006/relationships/notesSlide" Target="../notesSlides/notesSlide9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3.xml"/><Relationship Id="rId7" Type="http://schemas.openxmlformats.org/officeDocument/2006/relationships/chart" Target="../charts/chart3744.xml"/></Relationships>
</file>

<file path=ppt/slides/_rels/slide1873.xml.rels><?xml version='1.0' encoding='UTF-8' standalone='yes'?>
<Relationships xmlns="http://schemas.openxmlformats.org/package/2006/relationships"><Relationship Id="rId1" Type="http://schemas.openxmlformats.org/officeDocument/2006/relationships/tags" Target="../tags/tag974.xml"/><Relationship Id="rId2" Type="http://schemas.openxmlformats.org/officeDocument/2006/relationships/slideLayout" Target="../slideLayouts/slideLayout7.xml"/><Relationship Id="rId3" Type="http://schemas.openxmlformats.org/officeDocument/2006/relationships/notesSlide" Target="../notesSlides/notesSlide9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5.xml"/><Relationship Id="rId7" Type="http://schemas.openxmlformats.org/officeDocument/2006/relationships/chart" Target="../charts/chart3746.xml"/></Relationships>
</file>

<file path=ppt/slides/_rels/slide1879.xml.rels><?xml version='1.0' encoding='UTF-8' standalone='yes'?>
<Relationships xmlns="http://schemas.openxmlformats.org/package/2006/relationships"><Relationship Id="rId1" Type="http://schemas.openxmlformats.org/officeDocument/2006/relationships/tags" Target="../tags/tag980.xml"/><Relationship Id="rId2" Type="http://schemas.openxmlformats.org/officeDocument/2006/relationships/slideLayout" Target="../slideLayouts/slideLayout7.xml"/><Relationship Id="rId3" Type="http://schemas.openxmlformats.org/officeDocument/2006/relationships/notesSlide" Target="../notesSlides/notesSlide95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7.xml"/><Relationship Id="rId7" Type="http://schemas.openxmlformats.org/officeDocument/2006/relationships/chart" Target="../charts/chart3758.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 Id="rId6" Type="http://schemas.openxmlformats.org/officeDocument/2006/relationships/chart" Target="../charts/chart376.xml"/></Relationships>
</file>

<file path=ppt/slides/_rels/slide1880.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notesSlide" Target="../notesSlides/notesSlide95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9.xml"/><Relationship Id="rId7" Type="http://schemas.openxmlformats.org/officeDocument/2006/relationships/chart" Target="../charts/chart3760.xml"/></Relationships>
</file>

<file path=ppt/slides/_rels/slide1886.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notesSlide" Target="../notesSlides/notesSlide96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1.xml"/><Relationship Id="rId7" Type="http://schemas.openxmlformats.org/officeDocument/2006/relationships/chart" Target="../charts/chart3772.xml"/></Relationships>
</file>

<file path=ppt/slides/_rels/slide1887.xml.rels><?xml version='1.0' encoding='UTF-8' standalone='yes'?>
<Relationships xmlns="http://schemas.openxmlformats.org/package/2006/relationships"><Relationship Id="rId1" Type="http://schemas.openxmlformats.org/officeDocument/2006/relationships/tags" Target="../tags/tag988.xml"/><Relationship Id="rId2" Type="http://schemas.openxmlformats.org/officeDocument/2006/relationships/slideLayout" Target="../slideLayouts/slideLayout7.xml"/><Relationship Id="rId3" Type="http://schemas.openxmlformats.org/officeDocument/2006/relationships/notesSlide" Target="../notesSlides/notesSlide96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3.xml"/><Relationship Id="rId7" Type="http://schemas.openxmlformats.org/officeDocument/2006/relationships/chart" Target="../charts/chart3774.xml"/></Relationships>
</file>

<file path=ppt/slides/_rels/slide1894.xml.rels><?xml version='1.0' encoding='UTF-8' standalone='yes'?>
<Relationships xmlns="http://schemas.openxmlformats.org/package/2006/relationships"><Relationship Id="rId1" Type="http://schemas.openxmlformats.org/officeDocument/2006/relationships/tags" Target="../tags/tag995.xml"/><Relationship Id="rId2" Type="http://schemas.openxmlformats.org/officeDocument/2006/relationships/slideLayout" Target="../slideLayouts/slideLayout7.xml"/><Relationship Id="rId3" Type="http://schemas.openxmlformats.org/officeDocument/2006/relationships/notesSlide" Target="../notesSlides/notesSlide9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7.xml"/><Relationship Id="rId7" Type="http://schemas.openxmlformats.org/officeDocument/2006/relationships/chart" Target="../charts/chart3788.xml"/></Relationships>
</file>

<file path=ppt/slides/_rels/slide1895.xml.rels><?xml version='1.0' encoding='UTF-8' standalone='yes'?>
<Relationships xmlns="http://schemas.openxmlformats.org/package/2006/relationships"><Relationship Id="rId1" Type="http://schemas.openxmlformats.org/officeDocument/2006/relationships/tags" Target="../tags/tag996.xml"/><Relationship Id="rId2" Type="http://schemas.openxmlformats.org/officeDocument/2006/relationships/slideLayout" Target="../slideLayouts/slideLayout7.xml"/><Relationship Id="rId3" Type="http://schemas.openxmlformats.org/officeDocument/2006/relationships/notesSlide" Target="../notesSlides/notesSlide9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9.xml"/><Relationship Id="rId7" Type="http://schemas.openxmlformats.org/officeDocument/2006/relationships/chart" Target="../charts/chart3790.xml"/></Relationships>
</file>

<file path=ppt/slides/_rels/slide1896.xml.rels><?xml version='1.0' encoding='UTF-8' standalone='yes'?>
<Relationships xmlns="http://schemas.openxmlformats.org/package/2006/relationships"><Relationship Id="rId1" Type="http://schemas.openxmlformats.org/officeDocument/2006/relationships/tags" Target="../tags/tag997.xml"/><Relationship Id="rId2" Type="http://schemas.openxmlformats.org/officeDocument/2006/relationships/slideLayout" Target="../slideLayouts/slideLayout7.xml"/><Relationship Id="rId3" Type="http://schemas.openxmlformats.org/officeDocument/2006/relationships/notesSlide" Target="../notesSlides/notesSlide9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91.xml"/><Relationship Id="rId7" Type="http://schemas.openxmlformats.org/officeDocument/2006/relationships/chart" Target="../charts/chart3792.xml"/></Relationships>
</file>

<file path=ppt/slides/_rels/slide1904.xml.rels><?xml version='1.0' encoding='UTF-8' standalone='yes'?>
<Relationships xmlns="http://schemas.openxmlformats.org/package/2006/relationships"><Relationship Id="rId1" Type="http://schemas.openxmlformats.org/officeDocument/2006/relationships/tags" Target="../tags/tag1005.xml"/><Relationship Id="rId2" Type="http://schemas.openxmlformats.org/officeDocument/2006/relationships/slideLayout" Target="../slideLayouts/slideLayout7.xml"/><Relationship Id="rId3" Type="http://schemas.openxmlformats.org/officeDocument/2006/relationships/notesSlide" Target="../notesSlides/notesSlide9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7.xml"/><Relationship Id="rId7" Type="http://schemas.openxmlformats.org/officeDocument/2006/relationships/chart" Target="../charts/chart3808.xml"/></Relationships>
</file>

<file path=ppt/slides/_rels/slide1905.xml.rels><?xml version='1.0' encoding='UTF-8' standalone='yes'?>
<Relationships xmlns="http://schemas.openxmlformats.org/package/2006/relationships"><Relationship Id="rId1" Type="http://schemas.openxmlformats.org/officeDocument/2006/relationships/tags" Target="../tags/tag1006.xml"/><Relationship Id="rId2" Type="http://schemas.openxmlformats.org/officeDocument/2006/relationships/slideLayout" Target="../slideLayouts/slideLayout7.xml"/><Relationship Id="rId3" Type="http://schemas.openxmlformats.org/officeDocument/2006/relationships/notesSlide" Target="../notesSlides/notesSlide9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9.xml"/><Relationship Id="rId7" Type="http://schemas.openxmlformats.org/officeDocument/2006/relationships/chart" Target="../charts/chart3810.xml"/></Relationships>
</file>

<file path=ppt/slides/_rels/slide1910.xml.rels><?xml version='1.0' encoding='UTF-8' standalone='yes'?>
<Relationships xmlns="http://schemas.openxmlformats.org/package/2006/relationships"><Relationship Id="rId1" Type="http://schemas.openxmlformats.org/officeDocument/2006/relationships/tags" Target="../tags/tag1011.xml"/><Relationship Id="rId2" Type="http://schemas.openxmlformats.org/officeDocument/2006/relationships/slideLayout" Target="../slideLayouts/slideLayout7.xml"/><Relationship Id="rId3" Type="http://schemas.openxmlformats.org/officeDocument/2006/relationships/notesSlide" Target="../notesSlides/notesSlide9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19.xml"/><Relationship Id="rId7" Type="http://schemas.openxmlformats.org/officeDocument/2006/relationships/chart" Target="../charts/chart3820.xml"/></Relationships>
</file>

<file path=ppt/slides/_rels/slide1911.xml.rels><?xml version='1.0' encoding='UTF-8' standalone='yes'?>
<Relationships xmlns="http://schemas.openxmlformats.org/package/2006/relationships"><Relationship Id="rId1" Type="http://schemas.openxmlformats.org/officeDocument/2006/relationships/tags" Target="../tags/tag1012.xml"/><Relationship Id="rId2" Type="http://schemas.openxmlformats.org/officeDocument/2006/relationships/slideLayout" Target="../slideLayouts/slideLayout7.xml"/><Relationship Id="rId3" Type="http://schemas.openxmlformats.org/officeDocument/2006/relationships/notesSlide" Target="../notesSlides/notesSlide9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1.xml"/><Relationship Id="rId7" Type="http://schemas.openxmlformats.org/officeDocument/2006/relationships/chart" Target="../charts/chart3822.xml"/></Relationships>
</file>

<file path=ppt/slides/_rels/slide1912.xml.rels><?xml version='1.0' encoding='UTF-8' standalone='yes'?>
<Relationships xmlns="http://schemas.openxmlformats.org/package/2006/relationships"><Relationship Id="rId1" Type="http://schemas.openxmlformats.org/officeDocument/2006/relationships/tags" Target="../tags/tag1013.xml"/><Relationship Id="rId2" Type="http://schemas.openxmlformats.org/officeDocument/2006/relationships/slideLayout" Target="../slideLayouts/slideLayout7.xml"/><Relationship Id="rId3" Type="http://schemas.openxmlformats.org/officeDocument/2006/relationships/notesSlide" Target="../notesSlides/notesSlide9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3.xml"/><Relationship Id="rId7" Type="http://schemas.openxmlformats.org/officeDocument/2006/relationships/chart" Target="../charts/chart3824.xml"/></Relationships>
</file>

<file path=ppt/slides/_rels/slide1917.xml.rels><?xml version='1.0' encoding='UTF-8' standalone='yes'?>
<Relationships xmlns="http://schemas.openxmlformats.org/package/2006/relationships"><Relationship Id="rId1" Type="http://schemas.openxmlformats.org/officeDocument/2006/relationships/tags" Target="../tags/tag1018.xml"/><Relationship Id="rId2" Type="http://schemas.openxmlformats.org/officeDocument/2006/relationships/slideLayout" Target="../slideLayouts/slideLayout7.xml"/><Relationship Id="rId3" Type="http://schemas.openxmlformats.org/officeDocument/2006/relationships/notesSlide" Target="../notesSlides/notesSlide9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3.xml"/><Relationship Id="rId7" Type="http://schemas.openxmlformats.org/officeDocument/2006/relationships/chart" Target="../charts/chart3834.xml"/></Relationships>
</file>

<file path=ppt/slides/_rels/slide1918.xml.rels><?xml version='1.0' encoding='UTF-8' standalone='yes'?>
<Relationships xmlns="http://schemas.openxmlformats.org/package/2006/relationships"><Relationship Id="rId1" Type="http://schemas.openxmlformats.org/officeDocument/2006/relationships/tags" Target="../tags/tag1019.xml"/><Relationship Id="rId2" Type="http://schemas.openxmlformats.org/officeDocument/2006/relationships/slideLayout" Target="../slideLayouts/slideLayout7.xml"/><Relationship Id="rId3" Type="http://schemas.openxmlformats.org/officeDocument/2006/relationships/notesSlide" Target="../notesSlides/notesSlide9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5.xml"/><Relationship Id="rId7" Type="http://schemas.openxmlformats.org/officeDocument/2006/relationships/chart" Target="../charts/chart3836.xml"/></Relationships>
</file>

<file path=ppt/slides/_rels/slide1933.xml.rels><?xml version='1.0' encoding='UTF-8' standalone='yes'?>
<Relationships xmlns="http://schemas.openxmlformats.org/package/2006/relationships"><Relationship Id="rId1" Type="http://schemas.openxmlformats.org/officeDocument/2006/relationships/tags" Target="../tags/tag1034.xml"/><Relationship Id="rId2" Type="http://schemas.openxmlformats.org/officeDocument/2006/relationships/slideLayout" Target="../slideLayouts/slideLayout7.xml"/><Relationship Id="rId3" Type="http://schemas.openxmlformats.org/officeDocument/2006/relationships/notesSlide" Target="../notesSlides/notesSlide100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5.xml"/><Relationship Id="rId7" Type="http://schemas.openxmlformats.org/officeDocument/2006/relationships/chart" Target="../charts/chart3866.xml"/></Relationships>
</file>

<file path=ppt/slides/_rels/slide1934.xml.rels><?xml version='1.0' encoding='UTF-8' standalone='yes'?>
<Relationships xmlns="http://schemas.openxmlformats.org/package/2006/relationships"><Relationship Id="rId1" Type="http://schemas.openxmlformats.org/officeDocument/2006/relationships/tags" Target="../tags/tag1035.xml"/><Relationship Id="rId2" Type="http://schemas.openxmlformats.org/officeDocument/2006/relationships/slideLayout" Target="../slideLayouts/slideLayout7.xml"/><Relationship Id="rId3" Type="http://schemas.openxmlformats.org/officeDocument/2006/relationships/notesSlide" Target="../notesSlides/notesSlide10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7.xml"/><Relationship Id="rId7" Type="http://schemas.openxmlformats.org/officeDocument/2006/relationships/chart" Target="../charts/chart3868.xml"/></Relationships>
</file>

<file path=ppt/slides/_rels/slide1939.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notesSlide" Target="../notesSlides/notesSlide10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7.xml"/><Relationship Id="rId7" Type="http://schemas.openxmlformats.org/officeDocument/2006/relationships/chart" Target="../charts/chart3878.xml"/></Relationships>
</file>

<file path=ppt/slides/_rels/slide1940.xml.rels><?xml version='1.0' encoding='UTF-8' standalone='yes'?>
<Relationships xmlns="http://schemas.openxmlformats.org/package/2006/relationships"><Relationship Id="rId1" Type="http://schemas.openxmlformats.org/officeDocument/2006/relationships/tags" Target="../tags/tag1041.xml"/><Relationship Id="rId2" Type="http://schemas.openxmlformats.org/officeDocument/2006/relationships/slideLayout" Target="../slideLayouts/slideLayout7.xml"/><Relationship Id="rId3" Type="http://schemas.openxmlformats.org/officeDocument/2006/relationships/notesSlide" Target="../notesSlides/notesSlide101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9.xml"/><Relationship Id="rId7" Type="http://schemas.openxmlformats.org/officeDocument/2006/relationships/chart" Target="../charts/chart3880.xml"/></Relationships>
</file>

<file path=ppt/slides/_rels/slide1946.xml.rels><?xml version='1.0' encoding='UTF-8' standalone='yes'?>
<Relationships xmlns="http://schemas.openxmlformats.org/package/2006/relationships"><Relationship Id="rId1" Type="http://schemas.openxmlformats.org/officeDocument/2006/relationships/tags" Target="../tags/tag1047.xml"/><Relationship Id="rId2" Type="http://schemas.openxmlformats.org/officeDocument/2006/relationships/slideLayout" Target="../slideLayouts/slideLayout7.xml"/><Relationship Id="rId3" Type="http://schemas.openxmlformats.org/officeDocument/2006/relationships/notesSlide" Target="../notesSlides/notesSlide102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1.xml"/><Relationship Id="rId7" Type="http://schemas.openxmlformats.org/officeDocument/2006/relationships/chart" Target="../charts/chart3892.xml"/></Relationships>
</file>

<file path=ppt/slides/_rels/slide1947.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notesSlide" Target="../notesSlides/notesSlide102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3.xml"/><Relationship Id="rId7" Type="http://schemas.openxmlformats.org/officeDocument/2006/relationships/chart" Target="../charts/chart38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 Id="rId6" Type="http://schemas.openxmlformats.org/officeDocument/2006/relationships/chart" Target="../charts/chart390.xml"/></Relationships>
</file>

<file path=ppt/slides/_rels/slide1955.xml.rels><?xml version='1.0' encoding='UTF-8' standalone='yes'?>
<Relationships xmlns="http://schemas.openxmlformats.org/package/2006/relationships"><Relationship Id="rId1" Type="http://schemas.openxmlformats.org/officeDocument/2006/relationships/tags" Target="../tags/tag1056.xml"/><Relationship Id="rId2" Type="http://schemas.openxmlformats.org/officeDocument/2006/relationships/slideLayout" Target="../slideLayouts/slideLayout7.xml"/><Relationship Id="rId3" Type="http://schemas.openxmlformats.org/officeDocument/2006/relationships/notesSlide" Target="../notesSlides/notesSlide10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09.xml"/><Relationship Id="rId7" Type="http://schemas.openxmlformats.org/officeDocument/2006/relationships/chart" Target="../charts/chart391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 Id="rId6" Type="http://schemas.openxmlformats.org/officeDocument/2006/relationships/chart" Target="../charts/chart392.xml"/></Relationships>
</file>

<file path=ppt/slides/_rels/slide1961.xml.rels><?xml version='1.0' encoding='UTF-8' standalone='yes'?>
<Relationships xmlns="http://schemas.openxmlformats.org/package/2006/relationships"><Relationship Id="rId1" Type="http://schemas.openxmlformats.org/officeDocument/2006/relationships/tags" Target="../tags/tag1062.xml"/><Relationship Id="rId2" Type="http://schemas.openxmlformats.org/officeDocument/2006/relationships/slideLayout" Target="../slideLayouts/slideLayout7.xml"/><Relationship Id="rId3" Type="http://schemas.openxmlformats.org/officeDocument/2006/relationships/notesSlide" Target="../notesSlides/notesSlide103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1.xml"/><Relationship Id="rId7" Type="http://schemas.openxmlformats.org/officeDocument/2006/relationships/chart" Target="../charts/chart3922.xml"/></Relationships>
</file>

<file path=ppt/slides/_rels/slide1962.xml.rels><?xml version='1.0' encoding='UTF-8' standalone='yes'?>
<Relationships xmlns="http://schemas.openxmlformats.org/package/2006/relationships"><Relationship Id="rId1" Type="http://schemas.openxmlformats.org/officeDocument/2006/relationships/tags" Target="../tags/tag1063.xml"/><Relationship Id="rId2" Type="http://schemas.openxmlformats.org/officeDocument/2006/relationships/slideLayout" Target="../slideLayouts/slideLayout7.xml"/><Relationship Id="rId3" Type="http://schemas.openxmlformats.org/officeDocument/2006/relationships/notesSlide" Target="../notesSlides/notesSlide10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3.xml"/><Relationship Id="rId7" Type="http://schemas.openxmlformats.org/officeDocument/2006/relationships/chart" Target="../charts/chart3924.xml"/></Relationships>
</file>

<file path=ppt/slides/_rels/slide1968.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notesSlide" Target="../notesSlides/notesSlide104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5.xml"/><Relationship Id="rId7" Type="http://schemas.openxmlformats.org/officeDocument/2006/relationships/chart" Target="../charts/chart3936.xml"/></Relationships>
</file>

<file path=ppt/slides/_rels/slide1969.xml.rels><?xml version='1.0' encoding='UTF-8' standalone='yes'?>
<Relationships xmlns="http://schemas.openxmlformats.org/package/2006/relationships"><Relationship Id="rId1" Type="http://schemas.openxmlformats.org/officeDocument/2006/relationships/tags" Target="../tags/tag1070.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7.xml"/><Relationship Id="rId7" Type="http://schemas.openxmlformats.org/officeDocument/2006/relationships/chart" Target="../charts/chart3938.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 Id="rId6" Type="http://schemas.openxmlformats.org/officeDocument/2006/relationships/chart" Target="../charts/chart394.xml"/></Relationships>
</file>

<file path=ppt/slides/_rels/slide1976.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notesSlide" Target="../notesSlides/notesSlide105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51.xml"/><Relationship Id="rId7" Type="http://schemas.openxmlformats.org/officeDocument/2006/relationships/chart" Target="../charts/chart3952.xml"/></Relationships>
</file>

<file path=ppt/slides/_rels/slide1983.xml.rels><?xml version='1.0' encoding='UTF-8' standalone='yes'?>
<Relationships xmlns="http://schemas.openxmlformats.org/package/2006/relationships"><Relationship Id="rId1" Type="http://schemas.openxmlformats.org/officeDocument/2006/relationships/tags" Target="../tags/tag1084.xml"/><Relationship Id="rId2" Type="http://schemas.openxmlformats.org/officeDocument/2006/relationships/slideLayout" Target="../slideLayouts/slideLayout7.xml"/><Relationship Id="rId3" Type="http://schemas.openxmlformats.org/officeDocument/2006/relationships/notesSlide" Target="../notesSlides/notesSlide10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5.xml"/><Relationship Id="rId7" Type="http://schemas.openxmlformats.org/officeDocument/2006/relationships/chart" Target="../charts/chart3966.xml"/></Relationships>
</file>

<file path=ppt/slides/_rels/slide1984.xml.rels><?xml version='1.0' encoding='UTF-8' standalone='yes'?>
<Relationships xmlns="http://schemas.openxmlformats.org/package/2006/relationships"><Relationship Id="rId1" Type="http://schemas.openxmlformats.org/officeDocument/2006/relationships/tags" Target="../tags/tag1085.xml"/><Relationship Id="rId2" Type="http://schemas.openxmlformats.org/officeDocument/2006/relationships/slideLayout" Target="../slideLayouts/slideLayout7.xml"/><Relationship Id="rId3" Type="http://schemas.openxmlformats.org/officeDocument/2006/relationships/notesSlide" Target="../notesSlides/notesSlide10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7.xml"/><Relationship Id="rId7" Type="http://schemas.openxmlformats.org/officeDocument/2006/relationships/chart" Target="../charts/chart3968.xml"/></Relationships>
</file>

<file path=ppt/slides/_rels/slide1985.xml.rels><?xml version='1.0' encoding='UTF-8' standalone='yes'?>
<Relationships xmlns="http://schemas.openxmlformats.org/package/2006/relationships"><Relationship Id="rId1" Type="http://schemas.openxmlformats.org/officeDocument/2006/relationships/tags" Target="../tags/tag1086.xml"/><Relationship Id="rId2" Type="http://schemas.openxmlformats.org/officeDocument/2006/relationships/slideLayout" Target="../slideLayouts/slideLayout7.xml"/><Relationship Id="rId3" Type="http://schemas.openxmlformats.org/officeDocument/2006/relationships/notesSlide" Target="../notesSlides/notesSlide10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9.xml"/><Relationship Id="rId7" Type="http://schemas.openxmlformats.org/officeDocument/2006/relationships/chart" Target="../charts/chart3970.xml"/></Relationships>
</file>

<file path=ppt/slides/_rels/slide1990.xml.rels><?xml version='1.0' encoding='UTF-8' standalone='yes'?>
<Relationships xmlns="http://schemas.openxmlformats.org/package/2006/relationships"><Relationship Id="rId1" Type="http://schemas.openxmlformats.org/officeDocument/2006/relationships/tags" Target="../tags/tag1091.xml"/><Relationship Id="rId2" Type="http://schemas.openxmlformats.org/officeDocument/2006/relationships/slideLayout" Target="../slideLayouts/slideLayout7.xml"/><Relationship Id="rId3" Type="http://schemas.openxmlformats.org/officeDocument/2006/relationships/notesSlide" Target="../notesSlides/notesSlide106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79.xml"/><Relationship Id="rId7" Type="http://schemas.openxmlformats.org/officeDocument/2006/relationships/chart" Target="../charts/chart3980.xml"/></Relationships>
</file>

<file path=ppt/slides/_rels/slide1991.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notesSlide" Target="../notesSlides/notesSlide106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81.xml"/><Relationship Id="rId7" Type="http://schemas.openxmlformats.org/officeDocument/2006/relationships/chart" Target="../charts/chart3982.xml"/></Relationships>
</file>

<file path=ppt/slides/_rels/slide1996.xml.rels><?xml version='1.0' encoding='UTF-8' standalone='yes'?>
<Relationships xmlns="http://schemas.openxmlformats.org/package/2006/relationships"><Relationship Id="rId1" Type="http://schemas.openxmlformats.org/officeDocument/2006/relationships/tags" Target="../tags/tag1097.xml"/><Relationship Id="rId2" Type="http://schemas.openxmlformats.org/officeDocument/2006/relationships/slideLayout" Target="../slideLayouts/slideLayout7.xml"/><Relationship Id="rId3" Type="http://schemas.openxmlformats.org/officeDocument/2006/relationships/notesSlide" Target="../notesSlides/notesSlide10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91.xml"/><Relationship Id="rId7" Type="http://schemas.openxmlformats.org/officeDocument/2006/relationships/chart" Target="../charts/chart399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04.xml.rels><?xml version='1.0' encoding='UTF-8' standalone='yes'?>
<Relationships xmlns="http://schemas.openxmlformats.org/package/2006/relationships"><Relationship Id="rId1" Type="http://schemas.openxmlformats.org/officeDocument/2006/relationships/tags" Target="../tags/tag1105.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7.xml"/><Relationship Id="rId7" Type="http://schemas.openxmlformats.org/officeDocument/2006/relationships/chart" Target="../charts/chart4008.xml"/></Relationships>
</file>

<file path=ppt/slides/_rels/slide2005.xml.rels><?xml version='1.0' encoding='UTF-8' standalone='yes'?>
<Relationships xmlns="http://schemas.openxmlformats.org/package/2006/relationships"><Relationship Id="rId1" Type="http://schemas.openxmlformats.org/officeDocument/2006/relationships/tags" Target="../tags/tag1106.xml"/><Relationship Id="rId2" Type="http://schemas.openxmlformats.org/officeDocument/2006/relationships/slideLayout" Target="../slideLayouts/slideLayout7.xml"/><Relationship Id="rId3" Type="http://schemas.openxmlformats.org/officeDocument/2006/relationships/notesSlide" Target="../notesSlides/notesSlide10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9.xml"/><Relationship Id="rId7" Type="http://schemas.openxmlformats.org/officeDocument/2006/relationships/chart" Target="../charts/chart4010.xml"/></Relationships>
</file>

<file path=ppt/slides/_rels/slide2010.xml.rels><?xml version='1.0' encoding='UTF-8' standalone='yes'?>
<Relationships xmlns="http://schemas.openxmlformats.org/package/2006/relationships"><Relationship Id="rId1" Type="http://schemas.openxmlformats.org/officeDocument/2006/relationships/tags" Target="../tags/tag1111.xml"/><Relationship Id="rId2" Type="http://schemas.openxmlformats.org/officeDocument/2006/relationships/slideLayout" Target="../slideLayouts/slideLayout7.xml"/><Relationship Id="rId3" Type="http://schemas.openxmlformats.org/officeDocument/2006/relationships/notesSlide" Target="../notesSlides/notesSlide10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19.xml"/><Relationship Id="rId7" Type="http://schemas.openxmlformats.org/officeDocument/2006/relationships/chart" Target="../charts/chart4020.xml"/></Relationships>
</file>

<file path=ppt/slides/_rels/slide2011.xml.rels><?xml version='1.0' encoding='UTF-8' standalone='yes'?>
<Relationships xmlns="http://schemas.openxmlformats.org/package/2006/relationships"><Relationship Id="rId1" Type="http://schemas.openxmlformats.org/officeDocument/2006/relationships/tags" Target="../tags/tag1112.xml"/><Relationship Id="rId2" Type="http://schemas.openxmlformats.org/officeDocument/2006/relationships/slideLayout" Target="../slideLayouts/slideLayout7.xml"/><Relationship Id="rId3" Type="http://schemas.openxmlformats.org/officeDocument/2006/relationships/notesSlide" Target="../notesSlides/notesSlide10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1.xml"/><Relationship Id="rId7" Type="http://schemas.openxmlformats.org/officeDocument/2006/relationships/chart" Target="../charts/chart4022.xml"/></Relationships>
</file>

<file path=ppt/slides/_rels/slide2012.xml.rels><?xml version='1.0' encoding='UTF-8' standalone='yes'?>
<Relationships xmlns="http://schemas.openxmlformats.org/package/2006/relationships"><Relationship Id="rId1" Type="http://schemas.openxmlformats.org/officeDocument/2006/relationships/tags" Target="../tags/tag1113.xml"/><Relationship Id="rId2" Type="http://schemas.openxmlformats.org/officeDocument/2006/relationships/slideLayout" Target="../slideLayouts/slideLayout7.xml"/><Relationship Id="rId3" Type="http://schemas.openxmlformats.org/officeDocument/2006/relationships/notesSlide" Target="../notesSlides/notesSlide10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3.xml"/><Relationship Id="rId7" Type="http://schemas.openxmlformats.org/officeDocument/2006/relationships/chart" Target="../charts/chart402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 Id="rId6" Type="http://schemas.openxmlformats.org/officeDocument/2006/relationships/chart" Target="../charts/chart4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 Id="rId6" Type="http://schemas.openxmlformats.org/officeDocument/2006/relationships/chart" Target="../charts/chart422.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 Id="rId6"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 Id="rId6" Type="http://schemas.openxmlformats.org/officeDocument/2006/relationships/chart" Target="../charts/chart42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 Id="rId6"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 Id="rId6" Type="http://schemas.openxmlformats.org/officeDocument/2006/relationships/chart" Target="../charts/chart438.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 Id="rId6" Type="http://schemas.openxmlformats.org/officeDocument/2006/relationships/chart" Target="../charts/chart45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 Id="rId6"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 Id="rId6" Type="http://schemas.openxmlformats.org/officeDocument/2006/relationships/chart" Target="../charts/chart470.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 Id="rId6"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 Id="rId6" Type="http://schemas.openxmlformats.org/officeDocument/2006/relationships/chart" Target="../charts/chart482.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 Id="rId6"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 Id="rId6" Type="http://schemas.openxmlformats.org/officeDocument/2006/relationships/chart" Target="../charts/chart496.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 Id="rId6"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 Id="rId6"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 Id="rId6" Type="http://schemas.openxmlformats.org/officeDocument/2006/relationships/chart" Target="../charts/chart52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 Id="rId6" Type="http://schemas.openxmlformats.org/officeDocument/2006/relationships/chart" Target="../charts/chart538.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 Id="rId6" Type="http://schemas.openxmlformats.org/officeDocument/2006/relationships/chart" Target="../charts/chart54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 Id="rId6"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 Id="rId6" Type="http://schemas.openxmlformats.org/officeDocument/2006/relationships/chart" Target="../charts/chart554.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7.xml"/><Relationship Id="rId6" Type="http://schemas.openxmlformats.org/officeDocument/2006/relationships/chart" Target="../charts/chart568.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 Id="rId6" Type="http://schemas.openxmlformats.org/officeDocument/2006/relationships/chart" Target="../charts/chart57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 Id="rId6"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 Id="rId6" Type="http://schemas.openxmlformats.org/officeDocument/2006/relationships/chart" Target="../charts/chart58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 Id="rId6"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 Id="rId6" Type="http://schemas.openxmlformats.org/officeDocument/2006/relationships/chart" Target="../charts/chart604.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 Id="rId6" Type="http://schemas.openxmlformats.org/officeDocument/2006/relationships/chart" Target="../charts/chart614.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 Id="rId6"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 Id="rId6"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7.xml"/><Relationship Id="rId6" Type="http://schemas.openxmlformats.org/officeDocument/2006/relationships/chart" Target="../charts/chart64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7.xml"/><Relationship Id="rId6" Type="http://schemas.openxmlformats.org/officeDocument/2006/relationships/chart" Target="../charts/chart65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 Id="rId6"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 Id="rId6" Type="http://schemas.openxmlformats.org/officeDocument/2006/relationships/chart" Target="../charts/chart662.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 Id="rId6"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3.xml"/><Relationship Id="rId6" Type="http://schemas.openxmlformats.org/officeDocument/2006/relationships/chart" Target="../charts/chart67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 Id="rId6" Type="http://schemas.openxmlformats.org/officeDocument/2006/relationships/chart" Target="../charts/chart69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1.xml"/><Relationship Id="rId6" Type="http://schemas.openxmlformats.org/officeDocument/2006/relationships/chart" Target="../charts/chart702.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 Id="rId6"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5.xml"/><Relationship Id="rId6" Type="http://schemas.openxmlformats.org/officeDocument/2006/relationships/chart" Target="../charts/chart70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5.xml"/><Relationship Id="rId6"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7.xml"/><Relationship Id="rId6" Type="http://schemas.openxmlformats.org/officeDocument/2006/relationships/chart" Target="../charts/chart71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 Id="rId6" Type="http://schemas.openxmlformats.org/officeDocument/2006/relationships/chart" Target="../charts/chart7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 Id="rId6" Type="http://schemas.openxmlformats.org/officeDocument/2006/relationships/chart" Target="../charts/chart74.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7.xml"/><Relationship Id="rId6"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 Id="rId6" Type="http://schemas.openxmlformats.org/officeDocument/2006/relationships/chart" Target="../charts/chart750.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 Id="rId6" Type="http://schemas.openxmlformats.org/officeDocument/2006/relationships/chart" Target="../charts/chart76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 Id="rId6" Type="http://schemas.openxmlformats.org/officeDocument/2006/relationships/chart" Target="../charts/chart762.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3.xml"/><Relationship Id="rId6"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 Id="rId6" Type="http://schemas.openxmlformats.org/officeDocument/2006/relationships/chart" Target="../charts/chart7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1.xml"/><Relationship Id="rId6" Type="http://schemas.openxmlformats.org/officeDocument/2006/relationships/chart" Target="../charts/chart792.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3.xml"/><Relationship Id="rId6"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 Id="rId6" Type="http://schemas.openxmlformats.org/officeDocument/2006/relationships/chart" Target="../charts/chart796.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9.xml"/><Relationship Id="rId6" Type="http://schemas.openxmlformats.org/officeDocument/2006/relationships/chart" Target="../charts/chart81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3.xml"/><Relationship Id="rId6"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5.xml"/><Relationship Id="rId6" Type="http://schemas.openxmlformats.org/officeDocument/2006/relationships/chart" Target="../charts/chart826.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 Id="rId6" Type="http://schemas.openxmlformats.org/officeDocument/2006/relationships/chart" Target="../charts/chart836.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7.xml"/><Relationship Id="rId6" Type="http://schemas.openxmlformats.org/officeDocument/2006/relationships/chart" Target="../charts/chart83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9.xml"/><Relationship Id="rId6" Type="http://schemas.openxmlformats.org/officeDocument/2006/relationships/chart" Target="../charts/chart84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1.xml"/><Relationship Id="rId6" Type="http://schemas.openxmlformats.org/officeDocument/2006/relationships/chart" Target="../charts/chart852.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7.xml"/><Relationship Id="rId6"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9.xml"/><Relationship Id="rId6" Type="http://schemas.openxmlformats.org/officeDocument/2006/relationships/chart" Target="../charts/chart87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1.xml"/><Relationship Id="rId6"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3.xml"/><Relationship Id="rId6" Type="http://schemas.openxmlformats.org/officeDocument/2006/relationships/chart" Target="../charts/chart884.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3.xml"/><Relationship Id="rId6" Type="http://schemas.openxmlformats.org/officeDocument/2006/relationships/chart" Target="../charts/chart894.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5.xml"/><Relationship Id="rId6" Type="http://schemas.openxmlformats.org/officeDocument/2006/relationships/chart" Target="../charts/chart896.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5.xml"/><Relationship Id="rId6"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7.xml"/><Relationship Id="rId6" Type="http://schemas.openxmlformats.org/officeDocument/2006/relationships/chart" Target="../charts/chart928.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7.xml"/><Relationship Id="rId6" Type="http://schemas.openxmlformats.org/officeDocument/2006/relationships/chart" Target="../charts/chart938.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9.xml"/><Relationship Id="rId6"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1.xml"/><Relationship Id="rId6" Type="http://schemas.openxmlformats.org/officeDocument/2006/relationships/chart" Target="../charts/chart942.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1.xml"/><Relationship Id="rId6"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3.xml"/><Relationship Id="rId6" Type="http://schemas.openxmlformats.org/officeDocument/2006/relationships/chart" Target="../charts/chart954.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9.xml"/><Relationship Id="rId6" Type="http://schemas.openxmlformats.org/officeDocument/2006/relationships/chart" Target="../charts/chart97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1.xml"/><Relationship Id="rId6" Type="http://schemas.openxmlformats.org/officeDocument/2006/relationships/chart" Target="../charts/chart982.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3.xml"/><Relationship Id="rId6"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5.xml"/><Relationship Id="rId6" Type="http://schemas.openxmlformats.org/officeDocument/2006/relationships/chart" Target="../charts/chart986.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1.xml"/><Relationship Id="rId6"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3.xml"/><Relationship Id="rId6" Type="http://schemas.openxmlformats.org/officeDocument/2006/relationships/chart" Target="../charts/chart1004.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5.xml"/><Relationship Id="rId6"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7.xml"/><Relationship Id="rId6" Type="http://schemas.openxmlformats.org/officeDocument/2006/relationships/chart" Target="../charts/chart1018.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5.xml"/><Relationship Id="rId6"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7.xml"/><Relationship Id="rId6" Type="http://schemas.openxmlformats.org/officeDocument/2006/relationships/chart" Target="../charts/chart1048.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 Id="rId6"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9.xml"/><Relationship Id="rId6"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1.xml"/><Relationship Id="rId6" Type="http://schemas.openxmlformats.org/officeDocument/2006/relationships/chart" Target="../charts/chart1062.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1.xml"/><Relationship Id="rId6" Type="http://schemas.openxmlformats.org/officeDocument/2006/relationships/chart" Target="../charts/chart1072.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3.xml"/><Relationship Id="rId6"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5.xml"/><Relationship Id="rId6" Type="http://schemas.openxmlformats.org/officeDocument/2006/relationships/chart" Target="../charts/chart107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 Id="rId6" Type="http://schemas.openxmlformats.org/officeDocument/2006/relationships/chart" Target="../charts/chart108.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9.xml"/><Relationship Id="rId6" Type="http://schemas.openxmlformats.org/officeDocument/2006/relationships/chart" Target="../charts/chart1090.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 Id="rId6"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5.xml"/><Relationship Id="rId6" Type="http://schemas.openxmlformats.org/officeDocument/2006/relationships/chart" Target="../charts/chart1106.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5.xml"/><Relationship Id="rId6" Type="http://schemas.openxmlformats.org/officeDocument/2006/relationships/chart" Target="../charts/chart1116.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 Id="rId6" Type="http://schemas.openxmlformats.org/officeDocument/2006/relationships/chart" Target="../charts/chart1118.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9.xml"/><Relationship Id="rId6" Type="http://schemas.openxmlformats.org/officeDocument/2006/relationships/chart" Target="../charts/chart112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1.xml"/><Relationship Id="rId6" Type="http://schemas.openxmlformats.org/officeDocument/2006/relationships/chart" Target="../charts/chart1132.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7.xml"/><Relationship Id="rId6"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9.xml"/><Relationship Id="rId6" Type="http://schemas.openxmlformats.org/officeDocument/2006/relationships/chart" Target="../charts/chart115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 Id="rId6"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3.xml"/><Relationship Id="rId6" Type="http://schemas.openxmlformats.org/officeDocument/2006/relationships/chart" Target="../charts/chart1164.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3.xml"/><Relationship Id="rId6" Type="http://schemas.openxmlformats.org/officeDocument/2006/relationships/chart" Target="../charts/chart1174.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5.xml"/><Relationship Id="rId6" Type="http://schemas.openxmlformats.org/officeDocument/2006/relationships/chart" Target="../charts/chart117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 Id="rId6" Type="http://schemas.openxmlformats.org/officeDocument/2006/relationships/chart" Target="../charts/chart118.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3.xml"/><Relationship Id="rId6"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5.xml"/><Relationship Id="rId6" Type="http://schemas.openxmlformats.org/officeDocument/2006/relationships/chart" Target="../charts/chart119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 Id="rId6"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 Id="rId6" Type="http://schemas.openxmlformats.org/officeDocument/2006/relationships/chart" Target="../charts/chart122.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3.xml"/><Relationship Id="rId6" Type="http://schemas.openxmlformats.org/officeDocument/2006/relationships/chart" Target="../charts/chart1224.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5.xml"/><Relationship Id="rId6" Type="http://schemas.openxmlformats.org/officeDocument/2006/relationships/chart" Target="../charts/chart1226.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7.xml"/><Relationship Id="rId6" Type="http://schemas.openxmlformats.org/officeDocument/2006/relationships/chart" Target="../charts/chart1238.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9.xml"/><Relationship Id="rId6" Type="http://schemas.openxmlformats.org/officeDocument/2006/relationships/chart" Target="../charts/chart1240.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1.xml"/><Relationship Id="rId6"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3.xml"/><Relationship Id="rId6" Type="http://schemas.openxmlformats.org/officeDocument/2006/relationships/chart" Target="../charts/chart1254.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7.xml"/><Relationship Id="rId6" Type="http://schemas.openxmlformats.org/officeDocument/2006/relationships/chart" Target="../charts/chart1268.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9.xml"/><Relationship Id="rId6" Type="http://schemas.openxmlformats.org/officeDocument/2006/relationships/chart" Target="../charts/chart1270.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1.xml"/><Relationship Id="rId6"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3.xml"/><Relationship Id="rId6" Type="http://schemas.openxmlformats.org/officeDocument/2006/relationships/chart" Target="../charts/chart1284.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5.xml"/><Relationship Id="rId6"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7.xml"/><Relationship Id="rId6" Type="http://schemas.openxmlformats.org/officeDocument/2006/relationships/chart" Target="../charts/chart129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 Id="rId6"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5.xml"/><Relationship Id="rId6"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7.xml"/><Relationship Id="rId6" Type="http://schemas.openxmlformats.org/officeDocument/2006/relationships/chart" Target="../charts/chart13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 Id="rId6"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9.xml"/><Relationship Id="rId6"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1.xml"/><Relationship Id="rId6" Type="http://schemas.openxmlformats.org/officeDocument/2006/relationships/chart" Target="../charts/chart1342.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1.xml"/><Relationship Id="rId6" Type="http://schemas.openxmlformats.org/officeDocument/2006/relationships/chart" Target="../charts/chart1352.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3.xml"/><Relationship Id="rId6"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5.xml"/><Relationship Id="rId6" Type="http://schemas.openxmlformats.org/officeDocument/2006/relationships/chart" Target="../charts/chart1356.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9.xml"/><Relationship Id="rId6" Type="http://schemas.openxmlformats.org/officeDocument/2006/relationships/chart" Target="../charts/chart1370.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3.xml"/><Relationship Id="rId6"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5.xml"/><Relationship Id="rId6" Type="http://schemas.openxmlformats.org/officeDocument/2006/relationships/chart" Target="../charts/chart1386.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1.xml"/><Relationship Id="rId6" Type="http://schemas.openxmlformats.org/officeDocument/2006/relationships/chart" Target="../charts/chart1402.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3.xml"/><Relationship Id="rId6"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5.xml"/><Relationship Id="rId6" Type="http://schemas.openxmlformats.org/officeDocument/2006/relationships/chart" Target="../charts/chart1406.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5.xml"/><Relationship Id="rId6"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7.xml"/><Relationship Id="rId6" Type="http://schemas.openxmlformats.org/officeDocument/2006/relationships/chart" Target="../charts/chart1418.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1.xml"/><Relationship Id="rId6" Type="http://schemas.openxmlformats.org/officeDocument/2006/relationships/chart" Target="../charts/chart1432.xml"/></Relationships>
</file>

<file path=ppt/slides/_rels/slide723.xml.rels><?xml version='1.0' encoding='UTF-8' standalone='yes'?>
<Relationships xmlns="http://schemas.openxmlformats.org/package/2006/relationships"><Relationship Id="rId1" Type="http://schemas.openxmlformats.org/officeDocument/2006/relationships/tags" Target="../tags/tag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5.xml"/><Relationship Id="rId6" Type="http://schemas.openxmlformats.org/officeDocument/2006/relationships/chart" Target="../charts/chart1446.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7.xml"/><Relationship Id="rId6" Type="http://schemas.openxmlformats.org/officeDocument/2006/relationships/chart" Target="../charts/chart1448.xml"/></Relationships>
</file>

<file path=ppt/slides/_rels/slide725.xml.rels><?xml version='1.0' encoding='UTF-8' standalone='yes'?>
<Relationships xmlns="http://schemas.openxmlformats.org/package/2006/relationships"><Relationship Id="rId1" Type="http://schemas.openxmlformats.org/officeDocument/2006/relationships/tags" Target="../tags/tag7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9.xml"/><Relationship Id="rId6" Type="http://schemas.openxmlformats.org/officeDocument/2006/relationships/chart" Target="../charts/chart1450.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9.xml"/><Relationship Id="rId6" Type="http://schemas.openxmlformats.org/officeDocument/2006/relationships/chart" Target="../charts/chart1460.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1.xml"/><Relationship Id="rId6" Type="http://schemas.openxmlformats.org/officeDocument/2006/relationships/chart" Target="../charts/chart1462.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3.xml"/><Relationship Id="rId6" Type="http://schemas.openxmlformats.org/officeDocument/2006/relationships/chart" Target="../charts/chart1474.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5.xml"/><Relationship Id="rId6" Type="http://schemas.openxmlformats.org/officeDocument/2006/relationships/chart" Target="../charts/chart1476.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 Id="rId6" Type="http://schemas.openxmlformats.org/officeDocument/2006/relationships/chart" Target="../charts/chart150.xml"/></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3.xml"/><Relationship Id="rId6" Type="http://schemas.openxmlformats.org/officeDocument/2006/relationships/chart" Target="../charts/chart1504.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5.xml"/><Relationship Id="rId6" Type="http://schemas.openxmlformats.org/officeDocument/2006/relationships/chart" Target="../charts/chart1506.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7.xml"/><Relationship Id="rId6" Type="http://schemas.openxmlformats.org/officeDocument/2006/relationships/chart" Target="../charts/chart1518.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9.xml"/><Relationship Id="rId6" Type="http://schemas.openxmlformats.org/officeDocument/2006/relationships/chart" Target="../charts/chart1520.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1.xml"/><Relationship Id="rId6" Type="http://schemas.openxmlformats.org/officeDocument/2006/relationships/chart" Target="../charts/chart1532.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3.xml"/><Relationship Id="rId6" Type="http://schemas.openxmlformats.org/officeDocument/2006/relationships/chart" Target="../charts/chart1534.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7.xml"/><Relationship Id="rId6" Type="http://schemas.openxmlformats.org/officeDocument/2006/relationships/chart" Target="../charts/chart1548.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9.xml"/><Relationship Id="rId6" Type="http://schemas.openxmlformats.org/officeDocument/2006/relationships/chart" Target="../charts/chart1550.xml"/></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1.xml"/><Relationship Id="rId6"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3.xml"/><Relationship Id="rId6" Type="http://schemas.openxmlformats.org/officeDocument/2006/relationships/chart" Target="../charts/chart1564.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5.xml"/><Relationship Id="rId6"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7.xml"/><Relationship Id="rId6" Type="http://schemas.openxmlformats.org/officeDocument/2006/relationships/chart" Target="../charts/chart1578.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3.xml"/><Relationship Id="rId6"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5.xml"/><Relationship Id="rId6" Type="http://schemas.openxmlformats.org/officeDocument/2006/relationships/chart" Target="../charts/chart1596.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5.xml"/><Relationship Id="rId6"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7.xml"/><Relationship Id="rId6" Type="http://schemas.openxmlformats.org/officeDocument/2006/relationships/chart" Target="../charts/chart1628.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7.xml"/><Relationship Id="rId6"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 Id="rId6" Type="http://schemas.openxmlformats.org/officeDocument/2006/relationships/chart" Target="../charts/chart164.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9.xml"/><Relationship Id="rId6" Type="http://schemas.openxmlformats.org/officeDocument/2006/relationships/chart" Target="../charts/chart164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1.xml"/><Relationship Id="rId6"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3.xml"/><Relationship Id="rId6" Type="http://schemas.openxmlformats.org/officeDocument/2006/relationships/chart" Target="../charts/chart165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 Id="rId6" Type="http://schemas.openxmlformats.org/officeDocument/2006/relationships/chart" Target="../charts/chart166.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9.xml"/><Relationship Id="rId6" Type="http://schemas.openxmlformats.org/officeDocument/2006/relationships/chart" Target="../charts/chart1670.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1.xml"/><Relationship Id="rId6" Type="http://schemas.openxmlformats.org/officeDocument/2006/relationships/chart" Target="../charts/chart1682.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3.xml"/><Relationship Id="rId6"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5.xml"/><Relationship Id="rId6" Type="http://schemas.openxmlformats.org/officeDocument/2006/relationships/chart" Target="../charts/chart1686.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5.xml"/><Relationship Id="rId6"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7.xml"/><Relationship Id="rId6" Type="http://schemas.openxmlformats.org/officeDocument/2006/relationships/chart" Target="../charts/chart1698.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1.xml"/><Relationship Id="rId6" Type="http://schemas.openxmlformats.org/officeDocument/2006/relationships/chart" Target="../charts/chart1712.xml"/></Relationships>
</file>

<file path=ppt/slides/_rels/slide863.xml.rels><?xml version='1.0' encoding='UTF-8' standalone='yes'?>
<Relationships xmlns="http://schemas.openxmlformats.org/package/2006/relationships"><Relationship Id="rId1" Type="http://schemas.openxmlformats.org/officeDocument/2006/relationships/tags" Target="../tags/tag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5.xml"/><Relationship Id="rId6" Type="http://schemas.openxmlformats.org/officeDocument/2006/relationships/chart" Target="../charts/chart1726.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7.xml"/><Relationship Id="rId6" Type="http://schemas.openxmlformats.org/officeDocument/2006/relationships/chart" Target="../charts/chart1728.xml"/></Relationships>
</file>

<file path=ppt/slides/_rels/slide865.xml.rels><?xml version='1.0' encoding='UTF-8' standalone='yes'?>
<Relationships xmlns="http://schemas.openxmlformats.org/package/2006/relationships"><Relationship Id="rId1" Type="http://schemas.openxmlformats.org/officeDocument/2006/relationships/tags" Target="../tags/tag8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9.xml"/><Relationship Id="rId6" Type="http://schemas.openxmlformats.org/officeDocument/2006/relationships/chart" Target="../charts/chart1730.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9.xml"/><Relationship Id="rId6" Type="http://schemas.openxmlformats.org/officeDocument/2006/relationships/chart" Target="../charts/chart1740.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1.xml"/><Relationship Id="rId6" Type="http://schemas.openxmlformats.org/officeDocument/2006/relationships/chart" Target="../charts/chart1742.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3.xml"/><Relationship Id="rId6" Type="http://schemas.openxmlformats.org/officeDocument/2006/relationships/chart" Target="../charts/chart1754.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5.xml"/><Relationship Id="rId6" Type="http://schemas.openxmlformats.org/officeDocument/2006/relationships/chart" Target="../charts/chart175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 Id="rId6"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 Id="rId6" Type="http://schemas.openxmlformats.org/officeDocument/2006/relationships/chart" Target="../charts/chart178.xml"/></Relationships>
</file>

<file path=ppt/slides/_rels/slide892.xml.rels><?xml version='1.0' encoding='UTF-8' standalone='yes'?>
<Relationships xmlns="http://schemas.openxmlformats.org/package/2006/relationships"><Relationship Id="rId1" Type="http://schemas.openxmlformats.org/officeDocument/2006/relationships/tags" Target="../tags/tag9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3.xml"/><Relationship Id="rId6" Type="http://schemas.openxmlformats.org/officeDocument/2006/relationships/chart" Target="../charts/chart1784.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5.xml"/><Relationship Id="rId6" Type="http://schemas.openxmlformats.org/officeDocument/2006/relationships/chart" Target="../charts/chart178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3.xml"/><Relationship Id="rId6" Type="http://schemas.openxmlformats.org/officeDocument/2006/relationships/chart" Target="../charts/chart1804.xml"/></Relationships>
</file>

<file path=ppt/slides/_rels/slide903.xml.rels><?xml version='1.0' encoding='UTF-8' standalone='yes'?>
<Relationships xmlns="http://schemas.openxmlformats.org/package/2006/relationships"><Relationship Id="rId1" Type="http://schemas.openxmlformats.org/officeDocument/2006/relationships/tags" Target="../tags/tag9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5.xml"/><Relationship Id="rId6" Type="http://schemas.openxmlformats.org/officeDocument/2006/relationships/chart" Target="../charts/chart1806.xml"/></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5.xml"/><Relationship Id="rId6" Type="http://schemas.openxmlformats.org/officeDocument/2006/relationships/chart" Target="../charts/chart1816.xml"/></Relationships>
</file>

<file path=ppt/slides/_rels/slide909.xml.rels><?xml version='1.0' encoding='UTF-8' standalone='yes'?>
<Relationships xmlns="http://schemas.openxmlformats.org/package/2006/relationships"><Relationship Id="rId1" Type="http://schemas.openxmlformats.org/officeDocument/2006/relationships/tags" Target="../tags/tag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7.xml"/><Relationship Id="rId6" Type="http://schemas.openxmlformats.org/officeDocument/2006/relationships/chart" Target="../charts/chart1818.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9.xml"/><Relationship Id="rId6" Type="http://schemas.openxmlformats.org/officeDocument/2006/relationships/chart" Target="../charts/chart182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1.xml"/><Relationship Id="rId6" Type="http://schemas.openxmlformats.org/officeDocument/2006/relationships/chart" Target="../charts/chart1832.xml"/></Relationships>
</file>

<file path=ppt/slides/_rels/slide924.xml.rels><?xml version='1.0' encoding='UTF-8' standalone='yes'?>
<Relationships xmlns="http://schemas.openxmlformats.org/package/2006/relationships"><Relationship Id="rId1" Type="http://schemas.openxmlformats.org/officeDocument/2006/relationships/tags" Target="../tags/tag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7.xml"/><Relationship Id="rId6" Type="http://schemas.openxmlformats.org/officeDocument/2006/relationships/chart" Target="../charts/chart1848.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9.xml"/><Relationship Id="rId6" Type="http://schemas.openxmlformats.org/officeDocument/2006/relationships/chart" Target="../charts/chart1850.xml"/></Relationships>
</file>

<file path=ppt/slides/_rels/slide9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1859.xml"/><Relationship Id="rId4" Type="http://schemas.openxmlformats.org/officeDocument/2006/relationships/chart" Target="../charts/chart1860.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1861.xml"/><Relationship Id="rId4" Type="http://schemas.openxmlformats.org/officeDocument/2006/relationships/chart" Target="../charts/chart1862.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1863.xml"/><Relationship Id="rId4" Type="http://schemas.openxmlformats.org/officeDocument/2006/relationships/chart" Target="../charts/chart1864.xml"/></Relationships>
</file>

<file path=ppt/slides/_rels/slide9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1873.xml"/><Relationship Id="rId4" Type="http://schemas.openxmlformats.org/officeDocument/2006/relationships/chart" Target="../charts/chart1874.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875.xml"/><Relationship Id="rId4" Type="http://schemas.openxmlformats.org/officeDocument/2006/relationships/chart" Target="../charts/chart1876.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905.xml"/><Relationship Id="rId4" Type="http://schemas.openxmlformats.org/officeDocument/2006/relationships/chart" Target="../charts/chart1906.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907.xml"/><Relationship Id="rId4" Type="http://schemas.openxmlformats.org/officeDocument/2006/relationships/chart" Target="../charts/chart1908.xml"/></Relationships>
</file>

<file path=ppt/slides/_rels/slide9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917.xml"/><Relationship Id="rId4" Type="http://schemas.openxmlformats.org/officeDocument/2006/relationships/chart" Target="../charts/chart1918.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919.xml"/><Relationship Id="rId4" Type="http://schemas.openxmlformats.org/officeDocument/2006/relationships/chart" Target="../charts/chart1920.xml"/></Relationships>
</file>

<file path=ppt/slides/_rels/slide9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931.xml"/><Relationship Id="rId4" Type="http://schemas.openxmlformats.org/officeDocument/2006/relationships/chart" Target="../charts/chart1932.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933.xml"/><Relationship Id="rId4" Type="http://schemas.openxmlformats.org/officeDocument/2006/relationships/chart" Target="../charts/chart1934.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1949.xml"/><Relationship Id="rId4" Type="http://schemas.openxmlformats.org/officeDocument/2006/relationships/chart" Target="../charts/chart1950.xml"/></Relationships>
</file>

<file path=ppt/slides/_rels/slide9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1961.xml"/><Relationship Id="rId4" Type="http://schemas.openxmlformats.org/officeDocument/2006/relationships/chart" Target="../charts/chart1962.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1963.xml"/><Relationship Id="rId4" Type="http://schemas.openxmlformats.org/officeDocument/2006/relationships/chart" Target="../charts/chart1964.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1965.xml"/><Relationship Id="rId4" Type="http://schemas.openxmlformats.org/officeDocument/2006/relationships/chart" Target="../charts/chart1966.xml"/></Relationships>
</file>

<file path=ppt/slides/_rels/slide9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1975.xml"/><Relationship Id="rId4" Type="http://schemas.openxmlformats.org/officeDocument/2006/relationships/chart" Target="../charts/chart1976.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1977.xml"/><Relationship Id="rId4" Type="http://schemas.openxmlformats.org/officeDocument/2006/relationships/chart" Target="../charts/chart1978.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1995.xml"/><Relationship Id="rId4" Type="http://schemas.openxmlformats.org/officeDocument/2006/relationships/chart" Target="../charts/chart1996.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1997.xml"/><Relationship Id="rId4" Type="http://schemas.openxmlformats.org/officeDocument/2006/relationships/chart" Target="../charts/chart1998.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1666265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6764208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650779434"/>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09541406"/>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26636374"/>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658502808"/>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14006083"/>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74752689"/>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53774702"/>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265542506"/>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54856361"/>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20511774"/>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48829899"/>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41339532"/>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1810498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4399740"/>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50410310"/>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04638571"/>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6249331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3549517"/>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90538643"/>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96599943"/>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31071899"/>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5339815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2934346"/>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6287860"/>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75321588"/>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745898810"/>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89534860"/>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232279399"/>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17019723"/>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92096689"/>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863511930"/>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91246567"/>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0831809"/>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607472523"/>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76116848"/>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45266933"/>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46151364"/>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50105345"/>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96266946"/>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8477522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471812534"/>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6010488"/>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68766676"/>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410977566"/>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35575948"/>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17680450"/>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15782341"/>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28313436"/>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25565570"/>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56160151"/>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25941758"/>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66800285"/>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63159568"/>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246637696"/>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56473530"/>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0807396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45964790"/>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95201644"/>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60202573"/>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681879005"/>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582895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2909667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21030692"/>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50485107"/>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464787441"/>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75129782"/>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52210013"/>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69789388"/>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989613404"/>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824631321"/>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9362870"/>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57027524"/>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86767358"/>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227716771"/>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2952363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806136668"/>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7542578"/>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2913088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07414091"/>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704066622"/>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938204258"/>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48911280"/>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37858350"/>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46782630"/>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088385751"/>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95044209"/>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71146415"/>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03439473"/>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04177526"/>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29495507"/>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4753181"/>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54426497"/>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92420894"/>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25757521"/>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1965076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8766751"/>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13911012"/>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0246603"/>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26822922"/>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96743471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612276307"/>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710924422"/>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209904095"/>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34602740"/>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72738933"/>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24091360"/>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07929520"/>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862267572"/>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64688836"/>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861978269"/>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46682517"/>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38207025"/>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873324529"/>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87544351"/>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87730178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055492876"/>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38819372"/>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42211821"/>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1784793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12492846"/>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98564066"/>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808619567"/>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10091556"/>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208085167"/>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46605416"/>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42949164"/>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384220319"/>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682035741"/>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35454850"/>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667612157"/>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56141760"/>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32149166"/>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9867046"/>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86586855"/>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8515864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57485323"/>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96911633"/>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61471372"/>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82021907"/>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73806597"/>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3728674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64321359"/>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84094131"/>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98648966"/>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35476131"/>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94050458"/>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887742279"/>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42145685"/>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38077664"/>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420861594"/>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655562394"/>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44988865"/>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849796000"/>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903137267"/>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45354939"/>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601512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00436254"/>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50571646"/>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11305933"/>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2807721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103339663"/>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12653695"/>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96127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94883085"/>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26760154"/>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56057938"/>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76366098"/>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26843736"/>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268141286"/>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36160159"/>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47222617"/>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13481119"/>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26961090"/>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478590316"/>
      </p:ext>
    </p:extLst>
  </p:cSld>
  <p:clrMapOvr>
    <a:masterClrMapping/>
  </p:clrMapOvr>
</p:sld>
</file>

<file path=ppt/slides/slide1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17553520"/>
      </p:ext>
    </p:extLst>
  </p:cSld>
  <p:clrMapOvr>
    <a:masterClrMapping/>
  </p:clrMapOvr>
</p:sld>
</file>

<file path=ppt/slides/slide1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500743241"/>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55773166"/>
      </p:ext>
    </p:extLst>
  </p:cSld>
  <p:clrMapOvr>
    <a:masterClrMapping/>
  </p:clrMapOvr>
</p:sld>
</file>

<file path=ppt/slides/slide1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990734090"/>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7694892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17020015"/>
      </p:ext>
    </p:extLst>
  </p:cSld>
  <p:clrMapOvr>
    <a:masterClrMapping/>
  </p:clrMapOvr>
</p:sld>
</file>

<file path=ppt/slides/slide1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60484172"/>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125398351"/>
      </p:ext>
    </p:extLst>
  </p:cSld>
  <p:clrMapOvr>
    <a:masterClrMapping/>
  </p:clrMapOvr>
</p:sld>
</file>

<file path=ppt/slides/slide1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699717728"/>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01746047"/>
      </p:ext>
    </p:extLst>
  </p:cSld>
  <p:clrMapOvr>
    <a:masterClrMapping/>
  </p:clrMapOvr>
</p:sld>
</file>

<file path=ppt/slides/slide1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75490067"/>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54443593"/>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59522183"/>
      </p:ext>
    </p:extLst>
  </p:cSld>
  <p:clrMapOvr>
    <a:masterClrMapping/>
  </p:clrMapOvr>
</p:sld>
</file>

<file path=ppt/slides/slide1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52238153"/>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237294201"/>
      </p:ext>
    </p:extLst>
  </p:cSld>
  <p:clrMapOvr>
    <a:masterClrMapping/>
  </p:clrMapOvr>
</p:sld>
</file>

<file path=ppt/slides/slide1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373872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86122737"/>
      </p:ext>
    </p:extLst>
  </p:cSld>
  <p:clrMapOvr>
    <a:masterClrMapping/>
  </p:clrMapOvr>
</p:sld>
</file>

<file path=ppt/slides/slide1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282077008"/>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69615355"/>
      </p:ext>
    </p:extLst>
  </p:cSld>
  <p:clrMapOvr>
    <a:masterClrMapping/>
  </p:clrMapOvr>
</p:sld>
</file>

<file path=ppt/slides/slide1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923111126"/>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16659169"/>
      </p:ext>
    </p:extLst>
  </p:cSld>
  <p:clrMapOvr>
    <a:masterClrMapping/>
  </p:clrMapOvr>
</p:sld>
</file>

<file path=ppt/slides/slide1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3031681"/>
      </p:ext>
    </p:extLst>
  </p:cSld>
  <p:clrMapOvr>
    <a:masterClrMapping/>
  </p:clrMapOvr>
</p:sld>
</file>

<file path=ppt/slides/slide1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800932012"/>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3342138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67421247"/>
      </p:ext>
    </p:extLst>
  </p:cSld>
  <p:clrMapOvr>
    <a:masterClrMapping/>
  </p:clrMapOvr>
</p:sld>
</file>

<file path=ppt/slides/slide1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17534775"/>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97149584"/>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1384573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95409361"/>
      </p:ext>
    </p:extLst>
  </p:cSld>
  <p:clrMapOvr>
    <a:masterClrMapping/>
  </p:clrMapOvr>
</p:sld>
</file>

<file path=ppt/slides/slide1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10711019"/>
      </p:ext>
    </p:extLst>
  </p:cSld>
  <p:clrMapOvr>
    <a:masterClrMapping/>
  </p:clrMapOvr>
</p:sld>
</file>

<file path=ppt/slides/slide1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920242817"/>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604653993"/>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73688776"/>
      </p:ext>
    </p:extLst>
  </p:cSld>
  <p:clrMapOvr>
    <a:masterClrMapping/>
  </p:clrMapOvr>
</p:sld>
</file>

<file path=ppt/slides/slide1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502071301"/>
      </p:ext>
    </p:extLst>
  </p:cSld>
  <p:clrMapOvr>
    <a:masterClrMapping/>
  </p:clrMapOvr>
</p:sld>
</file>

<file path=ppt/slides/slide1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922896023"/>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08830225"/>
      </p:ext>
    </p:extLst>
  </p:cSld>
  <p:clrMapOvr>
    <a:masterClrMapping/>
  </p:clrMapOvr>
</p:sld>
</file>

<file path=ppt/slides/slide1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878019306"/>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506492109"/>
      </p:ext>
    </p:extLst>
  </p:cSld>
  <p:clrMapOvr>
    <a:masterClrMapping/>
  </p:clrMapOvr>
</p:sld>
</file>

<file path=ppt/slides/slide1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38475236"/>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241087519"/>
      </p:ext>
    </p:extLst>
  </p:cSld>
  <p:clrMapOvr>
    <a:masterClrMapping/>
  </p:clrMapOvr>
</p:sld>
</file>

<file path=ppt/slides/slide1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30872645"/>
      </p:ext>
    </p:extLst>
  </p:cSld>
  <p:clrMapOvr>
    <a:masterClrMapping/>
  </p:clrMapOvr>
</p:sld>
</file>

<file path=ppt/slides/slide1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893638015"/>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87899140"/>
      </p:ext>
    </p:extLst>
  </p:cSld>
  <p:clrMapOvr>
    <a:masterClrMapping/>
  </p:clrMapOvr>
</p:sld>
</file>

<file path=ppt/slides/slide1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6828962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050918476"/>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747591823"/>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938619209"/>
      </p:ext>
    </p:extLst>
  </p:cSld>
  <p:clrMapOvr>
    <a:masterClrMapping/>
  </p:clrMapOvr>
</p:sld>
</file>

<file path=ppt/slides/slide1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9147021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39985475"/>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060696988"/>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74617580"/>
      </p:ext>
    </p:extLst>
  </p:cSld>
  <p:clrMapOvr>
    <a:masterClrMapping/>
  </p:clrMapOvr>
</p:sld>
</file>

<file path=ppt/slides/slide1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14175194"/>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415951515"/>
      </p:ext>
    </p:extLst>
  </p:cSld>
  <p:clrMapOvr>
    <a:masterClrMapping/>
  </p:clrMapOvr>
</p:sld>
</file>

<file path=ppt/slides/slide1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382650537"/>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04213225"/>
      </p:ext>
    </p:extLst>
  </p:cSld>
  <p:clrMapOvr>
    <a:masterClrMapping/>
  </p:clrMapOvr>
</p:sld>
</file>

<file path=ppt/slides/slide1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166524005"/>
      </p:ext>
    </p:extLst>
  </p:cSld>
  <p:clrMapOvr>
    <a:masterClrMapping/>
  </p:clrMapOvr>
</p:sld>
</file>

<file path=ppt/slides/slide1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24998526"/>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58977282"/>
      </p:ext>
    </p:extLst>
  </p:cSld>
  <p:clrMapOvr>
    <a:masterClrMapping/>
  </p:clrMapOvr>
</p:sld>
</file>

<file path=ppt/slides/slide1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469192664"/>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28001413"/>
      </p:ext>
    </p:extLst>
  </p:cSld>
  <p:clrMapOvr>
    <a:masterClrMapping/>
  </p:clrMapOvr>
</p:sld>
</file>

<file path=ppt/slides/slide1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864159430"/>
      </p:ext>
    </p:extLst>
  </p:cSld>
  <p:clrMapOvr>
    <a:masterClrMapping/>
  </p:clrMapOvr>
</p:sld>
</file>

<file path=ppt/slides/slide1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841466487"/>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25964659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9127401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29067013"/>
      </p:ext>
    </p:extLst>
  </p:cSld>
  <p:clrMapOvr>
    <a:masterClrMapping/>
  </p:clrMapOvr>
</p:sld>
</file>

<file path=ppt/slides/slide1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CCQ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905568303"/>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C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857587173"/>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59222912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99354311"/>
      </p:ext>
    </p:extLst>
  </p:cSld>
  <p:clrMapOvr>
    <a:masterClrMapping/>
  </p:clrMapOvr>
</p:sld>
</file>

<file path=ppt/slides/slide1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355914567"/>
      </p:ext>
    </p:extLst>
  </p:cSld>
  <p:clrMapOvr>
    <a:masterClrMapping/>
  </p:clrMapOvr>
</p:sld>
</file>

<file path=ppt/slides/slide1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O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670828675"/>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HAU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489162327"/>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LO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52383740"/>
      </p:ext>
    </p:extLst>
  </p:cSld>
  <p:clrMapOvr>
    <a:masterClrMapping/>
  </p:clrMapOvr>
</p:sld>
</file>

<file path=ppt/slides/slide1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CE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786585787"/>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CE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12591256"/>
      </p:ext>
    </p:extLst>
  </p:cSld>
  <p:clrMapOvr>
    <a:masterClrMapping/>
  </p:clrMapOvr>
</p:sld>
</file>

<file path=ppt/slides/slide1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CA 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973178616"/>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154769694"/>
      </p:ext>
    </p:extLst>
  </p:cSld>
  <p:clrMapOvr>
    <a:masterClrMapping/>
  </p:clrMapOvr>
</p:sld>
</file>

<file path=ppt/slides/slide1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928813835"/>
                    </a:ext>
                  </a:extLst>
                </a:gridCol>
                <a:gridCol w="392710">
                  <a:extLst>
                    <a:ext uri="{9D8B030D-6E8A-4147-A177-3AD203B41FA5}">
                      <a16:colId xmlns:a16="http://schemas.microsoft.com/office/drawing/2014/main" val="3374165474"/>
                    </a:ext>
                  </a:extLst>
                </a:gridCol>
                <a:gridCol w="392710">
                  <a:extLst>
                    <a:ext uri="{9D8B030D-6E8A-4147-A177-3AD203B41FA5}">
                      <a16:colId xmlns:a16="http://schemas.microsoft.com/office/drawing/2014/main" val="99928969"/>
                    </a:ext>
                  </a:extLst>
                </a:gridCol>
                <a:gridCol w="392710">
                  <a:extLst>
                    <a:ext uri="{9D8B030D-6E8A-4147-A177-3AD203B41FA5}">
                      <a16:colId xmlns:a16="http://schemas.microsoft.com/office/drawing/2014/main" val="127408809"/>
                    </a:ext>
                  </a:extLst>
                </a:gridCol>
                <a:gridCol w="392710">
                  <a:extLst>
                    <a:ext uri="{9D8B030D-6E8A-4147-A177-3AD203B41FA5}">
                      <a16:colId xmlns:a16="http://schemas.microsoft.com/office/drawing/2014/main" val="3994312964"/>
                    </a:ext>
                  </a:extLst>
                </a:gridCol>
                <a:gridCol w="392710">
                  <a:extLst>
                    <a:ext uri="{9D8B030D-6E8A-4147-A177-3AD203B41FA5}">
                      <a16:colId xmlns:a16="http://schemas.microsoft.com/office/drawing/2014/main" val="384709931"/>
                    </a:ext>
                  </a:extLst>
                </a:gridCol>
                <a:gridCol w="392710">
                  <a:extLst>
                    <a:ext uri="{9D8B030D-6E8A-4147-A177-3AD203B41FA5}">
                      <a16:colId xmlns:a16="http://schemas.microsoft.com/office/drawing/2014/main" val="217012177"/>
                    </a:ext>
                  </a:extLst>
                </a:gridCol>
                <a:gridCol w="392710">
                  <a:extLst>
                    <a:ext uri="{9D8B030D-6E8A-4147-A177-3AD203B41FA5}">
                      <a16:colId xmlns:a16="http://schemas.microsoft.com/office/drawing/2014/main" val="2084146792"/>
                    </a:ext>
                  </a:extLst>
                </a:gridCol>
                <a:gridCol w="392710">
                  <a:extLst>
                    <a:ext uri="{9D8B030D-6E8A-4147-A177-3AD203B41FA5}">
                      <a16:colId xmlns:a16="http://schemas.microsoft.com/office/drawing/2014/main" val="586326706"/>
                    </a:ext>
                  </a:extLst>
                </a:gridCol>
                <a:gridCol w="392710">
                  <a:extLst>
                    <a:ext uri="{9D8B030D-6E8A-4147-A177-3AD203B41FA5}">
                      <a16:colId xmlns:a16="http://schemas.microsoft.com/office/drawing/2014/main" val="786404783"/>
                    </a:ext>
                  </a:extLst>
                </a:gridCol>
                <a:gridCol w="392710">
                  <a:extLst>
                    <a:ext uri="{9D8B030D-6E8A-4147-A177-3AD203B41FA5}">
                      <a16:colId xmlns:a16="http://schemas.microsoft.com/office/drawing/2014/main" val="2712606379"/>
                    </a:ext>
                  </a:extLst>
                </a:gridCol>
                <a:gridCol w="392710">
                  <a:extLst>
                    <a:ext uri="{9D8B030D-6E8A-4147-A177-3AD203B41FA5}">
                      <a16:colId xmlns:a16="http://schemas.microsoft.com/office/drawing/2014/main" val="2334528175"/>
                    </a:ext>
                  </a:extLst>
                </a:gridCol>
                <a:gridCol w="392710">
                  <a:extLst>
                    <a:ext uri="{9D8B030D-6E8A-4147-A177-3AD203B41FA5}">
                      <a16:colId xmlns:a16="http://schemas.microsoft.com/office/drawing/2014/main" val="3835393650"/>
                    </a:ext>
                  </a:extLst>
                </a:gridCol>
                <a:gridCol w="392710">
                  <a:extLst>
                    <a:ext uri="{9D8B030D-6E8A-4147-A177-3AD203B41FA5}">
                      <a16:colId xmlns:a16="http://schemas.microsoft.com/office/drawing/2014/main" val="3705822644"/>
                    </a:ext>
                  </a:extLst>
                </a:gridCol>
                <a:gridCol w="392710">
                  <a:extLst>
                    <a:ext uri="{9D8B030D-6E8A-4147-A177-3AD203B41FA5}">
                      <a16:colId xmlns:a16="http://schemas.microsoft.com/office/drawing/2014/main" val="184560546"/>
                    </a:ext>
                  </a:extLst>
                </a:gridCol>
                <a:gridCol w="392710">
                  <a:extLst>
                    <a:ext uri="{9D8B030D-6E8A-4147-A177-3AD203B41FA5}">
                      <a16:colId xmlns:a16="http://schemas.microsoft.com/office/drawing/2014/main" val="712457864"/>
                    </a:ext>
                  </a:extLst>
                </a:gridCol>
                <a:gridCol w="392710">
                  <a:extLst>
                    <a:ext uri="{9D8B030D-6E8A-4147-A177-3AD203B41FA5}">
                      <a16:colId xmlns:a16="http://schemas.microsoft.com/office/drawing/2014/main" val="2719112317"/>
                    </a:ext>
                  </a:extLst>
                </a:gridCol>
                <a:gridCol w="392710">
                  <a:extLst>
                    <a:ext uri="{9D8B030D-6E8A-4147-A177-3AD203B41FA5}">
                      <a16:colId xmlns:a16="http://schemas.microsoft.com/office/drawing/2014/main" val="1610204172"/>
                    </a:ext>
                  </a:extLst>
                </a:gridCol>
                <a:gridCol w="392710">
                  <a:extLst>
                    <a:ext uri="{9D8B030D-6E8A-4147-A177-3AD203B41FA5}">
                      <a16:colId xmlns:a16="http://schemas.microsoft.com/office/drawing/2014/main" val="4106856681"/>
                    </a:ext>
                  </a:extLst>
                </a:gridCol>
                <a:gridCol w="39271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957158159"/>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617044501"/>
      </p:ext>
    </p:extLst>
  </p:cSld>
  <p:clrMapOvr>
    <a:masterClrMapping/>
  </p:clrMapOvr>
</p:sld>
</file>

<file path=ppt/slides/slide1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725575904"/>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QC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00A097"/>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279774713"/>
      </p:ext>
    </p:extLst>
  </p:cSld>
  <p:clrMapOvr>
    <a:masterClrMapping/>
  </p:clrMapOvr>
</p:sld>
</file>

<file path=ppt/slides/slide1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QC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00A097"/>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711620904"/>
      </p:ext>
    </p:extLst>
  </p:cSld>
  <p:clrMapOvr>
    <a:masterClrMapping/>
  </p:clrMapOvr>
</p:sld>
</file>

<file path=ppt/slides/slide1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a:t>
                      </a:r>
                      <a:r>
                        <a:rPr sz="700">
                          <a:solidFill>
                            <a:srgbClr val="575555"/>
                          </a:solidFill>
                          <a:latin typeface="Nexa Book"/>
                        </a:rPr>
                        <a:t> | </a:t>
                      </a:r>
                      <a:r>
                        <a:rPr sz="700">
                          <a:solidFill>
                            <a:srgbClr val="C00000"/>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825716799"/>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a:t>
                      </a:r>
                      <a:r>
                        <a:rPr sz="700">
                          <a:solidFill>
                            <a:srgbClr val="575555"/>
                          </a:solidFill>
                          <a:latin typeface="Nexa Book"/>
                        </a:rPr>
                        <a:t> | </a:t>
                      </a:r>
                      <a:r>
                        <a:rPr sz="700">
                          <a:solidFill>
                            <a:srgbClr val="C00000"/>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372438170"/>
      </p:ext>
    </p:extLst>
  </p:cSld>
  <p:clrMapOvr>
    <a:masterClrMapping/>
  </p:clrMapOvr>
</p:sld>
</file>

<file path=ppt/slides/slide1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00A097"/>
                          </a:solidFill>
                          <a:latin typeface="Nexa Book"/>
                        </a:rP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769196093"/>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00A097"/>
                          </a:solidFill>
                          <a:latin typeface="Nexa Book"/>
                        </a:rP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416550954"/>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ND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9%</a:t>
                      </a:r>
                      <a:r>
                        <a:rPr sz="700">
                          <a:solidFill>
                            <a:srgbClr val="575555"/>
                          </a:solidFill>
                          <a:latin typeface="Nexa Book"/>
                        </a:rPr>
                        <a:t> | </a:t>
                      </a:r>
                      <a:r>
                        <a:rPr sz="700">
                          <a:solidFill>
                            <a:srgbClr val="00A097"/>
                          </a:solidFill>
                          <a:latin typeface="Nexa Book"/>
                        </a:rP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142438038"/>
      </p:ext>
    </p:extLst>
  </p:cSld>
  <p:clrMapOvr>
    <a:masterClrMapping/>
  </p:clrMapOvr>
</p:sld>
</file>

<file path=ppt/slides/slide1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B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a:t>
                      </a:r>
                      <a:r>
                        <a:rPr sz="700">
                          <a:solidFill>
                            <a:srgbClr val="575555"/>
                          </a:solidFill>
                          <a:latin typeface="Nexa Book"/>
                        </a:rPr>
                        <a:t> | </a:t>
                      </a:r>
                      <a:r>
                        <a:rPr sz="700">
                          <a:solidFill>
                            <a:srgbClr val="00A097"/>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55093821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785509250"/>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CA 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6499022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467029279"/>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109242448"/>
      </p:ext>
    </p:extLst>
  </p:cSld>
  <p:clrMapOvr>
    <a:masterClrMapping/>
  </p:clrMapOvr>
</p:sld>
</file>

<file path=ppt/slides/slide1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388077580"/>
      </p:ext>
    </p:extLst>
  </p:cSld>
  <p:clrMapOvr>
    <a:masterClrMapping/>
  </p:clrMapOvr>
</p:sld>
</file>

<file path=ppt/slides/slide1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022624996"/>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lanc De Blanc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16957209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11084479"/>
      </p:ext>
    </p:extLst>
  </p:cSld>
  <p:clrMapOvr>
    <a:masterClrMapping/>
  </p:clrMapOvr>
</p:sld>
</file>

<file path=ppt/slides/slide1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Rosé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494208051"/>
      </p:ext>
    </p:extLst>
  </p:cSld>
  <p:clrMapOvr>
    <a:masterClrMapping/>
  </p:clrMapOvr>
</p:sld>
</file>

<file path=ppt/slides/slide1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ru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2%</a:t>
                      </a:r>
                      <a:r>
                        <a:rPr sz="700">
                          <a:solidFill>
                            <a:srgbClr val="575555"/>
                          </a:solidFill>
                          <a:latin typeface="Nexa Book"/>
                        </a:rPr>
                        <a:t> | </a:t>
                      </a:r>
                      <a:r>
                        <a:rPr sz="700">
                          <a:solidFill>
                            <a:srgbClr val="00A097"/>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0%</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1778504244"/>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2%</a:t>
                      </a:r>
                      <a:r>
                        <a:rPr sz="700">
                          <a:solidFill>
                            <a:srgbClr val="575555"/>
                          </a:solidFill>
                          <a:latin typeface="Nexa Book"/>
                        </a:rPr>
                        <a:t> | </a:t>
                      </a:r>
                      <a:r>
                        <a:rPr sz="700">
                          <a:solidFill>
                            <a:srgbClr val="00A097"/>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0%</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742755752"/>
      </p:ext>
    </p:extLst>
  </p:cSld>
  <p:clrMapOvr>
    <a:masterClrMapping/>
  </p:clrMapOvr>
</p:sld>
</file>

<file path=ppt/slides/slide1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ru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a:t>
                      </a:r>
                      <a:r>
                        <a:rPr sz="700">
                          <a:solidFill>
                            <a:srgbClr val="575555"/>
                          </a:solidFill>
                          <a:latin typeface="Nexa Book"/>
                        </a:rPr>
                        <a:t> | </a:t>
                      </a:r>
                      <a:r>
                        <a:rPr sz="700">
                          <a:solidFill>
                            <a:srgbClr val="C00000"/>
                          </a:solidFill>
                          <a:latin typeface="Nexa Book"/>
                        </a:rP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591163945"/>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Effervescen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8%</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0%</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994891450"/>
      </p:ext>
    </p:extLst>
  </p:cSld>
  <p:clrMapOvr>
    <a:masterClrMapping/>
  </p:clrMapOvr>
</p:sld>
</file>

<file path=ppt/slides/slide1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Champagne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7%</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9%</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171209859"/>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0%</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6%</a:t>
                      </a:r>
                      <a:r>
                        <a:rPr sz="700">
                          <a:solidFill>
                            <a:srgbClr val="575555"/>
                          </a:solidFill>
                          <a:latin typeface="Nexa Book"/>
                        </a:rPr>
                        <a:t> | </a:t>
                      </a:r>
                      <a:r>
                        <a:rPr sz="700">
                          <a:solidFill>
                            <a:srgbClr val="00A097"/>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833783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20214980"/>
      </p:ext>
    </p:extLst>
  </p:cSld>
  <p:clrMapOvr>
    <a:masterClrMapping/>
  </p:clrMapOvr>
</p:sld>
</file>

<file path=ppt/slides/slide2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4%</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197111829"/>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Blanc De Blanc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6%</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041653055"/>
      </p:ext>
    </p:extLst>
  </p:cSld>
  <p:clrMapOvr>
    <a:masterClrMapping/>
  </p:clrMapOvr>
</p:sld>
</file>

<file path=ppt/slides/slide2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Cru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3929037472"/>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Rosé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4279875111"/>
      </p:ext>
    </p:extLst>
  </p:cSld>
  <p:clrMapOvr>
    <a:masterClrMapping/>
  </p:clrMapOvr>
</p:sld>
</file>

<file path=ppt/slides/slide2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Rosé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3/2025</a:t>
            </a:fld>
            <a:endParaRPr lang="en-US"/>
          </a:p>
        </p:txBody>
      </p:sp>
    </p:spTree>
    <p:extLst>
      <p:ext uri="{BB962C8B-B14F-4D97-AF65-F5344CB8AC3E}">
        <p14:creationId xmlns:p14="http://schemas.microsoft.com/office/powerpoint/2010/main" val="232861718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697548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2435551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373758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66049337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5821640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7995974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33190348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5945306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76207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5130858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5072437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91459571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3338973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02437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0919313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09681534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462065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7507388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190401226"/>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09178706"/>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5437633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6341577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80630188"/>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6745934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6073996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59904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5077851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7289472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5690948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9108626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305702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7293892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9713685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3160861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37673549"/>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7761504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1821329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8694354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4350189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9869524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66199690"/>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7633993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6937701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4910524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31776586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49410845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015177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321270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64422816"/>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34485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43970247"/>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0431732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82589260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33020239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576823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6532550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8914032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8721665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7057960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4199681"/>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7422173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97913934"/>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8666579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86455064"/>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132105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7684996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559135614"/>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05260567"/>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01205831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01554628"/>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709623"/>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571791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431994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8899775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8247214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40557477"/>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3977502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90202441"/>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79932189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689538305"/>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1159194"/>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916074381"/>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18222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4798866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6958502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46774933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0417474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42854058"/>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019672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8120504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153600858"/>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1239774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43304648"/>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4492062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001491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540646004"/>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82953273"/>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241793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9155828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3871940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70299917"/>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014197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88969690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7806478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719317811"/>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93422168"/>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311275857"/>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97294832"/>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621246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2042642"/>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65930476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574520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682914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0735732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4080358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99501963"/>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4950870"/>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650125159"/>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851589402"/>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42921246"/>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51836611"/>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5834624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5232835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65448294"/>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484004634"/>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930176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00047004"/>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58899497"/>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9685471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374104882"/>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741058116"/>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7357288"/>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09058491"/>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13657643"/>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59167600"/>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0717926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73815150"/>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263193303"/>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1328474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187129149"/>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64994786"/>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84658302"/>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72229483"/>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901588075"/>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48961935"/>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17710678"/>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75939265"/>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439163661"/>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344582722"/>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1931269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2563019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01168816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99635812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311821166"/>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10647297"/>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6068125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751278816"/>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7225950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732796386"/>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1911773"/>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18070396"/>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093647369"/>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47563235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58061834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592176908"/>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21243717"/>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972414213"/>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04167228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780333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694224684"/>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960331552"/>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58645518"/>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5764848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78866922"/>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80553443"/>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72112478"/>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354157329"/>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7256780"/>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92259684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296204587"/>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001884717"/>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669216753"/>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52549161"/>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B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885686859"/>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679817640"/>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555893824"/>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2180053256"/>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197832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5906282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514912008"/>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10549872"/>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14134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86718293"/>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435850989"/>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50703484"/>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50130644"/>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977884074"/>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3668321734"/>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373642076"/>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1870897136"/>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3/2025</a:t>
            </a:fld>
            <a:endParaRPr lang="en-US"/>
          </a:p>
        </p:txBody>
      </p:sp>
    </p:spTree>
    <p:extLst>
      <p:ext uri="{BB962C8B-B14F-4D97-AF65-F5344CB8AC3E}">
        <p14:creationId xmlns:p14="http://schemas.microsoft.com/office/powerpoint/2010/main" val="424784641"/>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697289131"/>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681260505"/>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520015191"/>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947569449"/>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16956971"/>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017256933"/>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74381473"/>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652377160"/>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367849407"/>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853731861"/>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788963095"/>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020214591"/>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27735364"/>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35206474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580945745"/>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4273362438"/>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1104056702"/>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013178677"/>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3/2025</a:t>
            </a:fld>
            <a:endParaRPr lang="en-US"/>
          </a:p>
        </p:txBody>
      </p:sp>
    </p:spTree>
    <p:extLst>
      <p:ext uri="{BB962C8B-B14F-4D97-AF65-F5344CB8AC3E}">
        <p14:creationId xmlns:p14="http://schemas.microsoft.com/office/powerpoint/2010/main" val="3130513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9-03T14:17:48Z</dcterms:modified>
</cp:coreProperties>
</file>